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5.xml" ContentType="application/vnd.openxmlformats-officedocument.presentationml.tags+xml"/>
  <Override PartName="/ppt/notesSlides/notesSlide4.xml" ContentType="application/vnd.openxmlformats-officedocument.presentationml.notesSlide+xml"/>
  <Override PartName="/ppt/tags/tag26.xml" ContentType="application/vnd.openxmlformats-officedocument.presentationml.tags+xml"/>
  <Override PartName="/ppt/notesSlides/notesSlide5.xml" ContentType="application/vnd.openxmlformats-officedocument.presentationml.notesSlide+xml"/>
  <Override PartName="/ppt/tags/tag27.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8.xml" ContentType="application/vnd.openxmlformats-officedocument.presentationml.tags+xml"/>
  <Override PartName="/ppt/notesSlides/notesSlide9.xml" ContentType="application/vnd.openxmlformats-officedocument.presentationml.notesSlide+xml"/>
  <Override PartName="/ppt/tags/tag2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0" r:id="rId4"/>
  </p:sldMasterIdLst>
  <p:notesMasterIdLst>
    <p:notesMasterId r:id="rId20"/>
  </p:notesMasterIdLst>
  <p:sldIdLst>
    <p:sldId id="423" r:id="rId5"/>
    <p:sldId id="377" r:id="rId6"/>
    <p:sldId id="378" r:id="rId7"/>
    <p:sldId id="379" r:id="rId8"/>
    <p:sldId id="380" r:id="rId9"/>
    <p:sldId id="381" r:id="rId10"/>
    <p:sldId id="382" r:id="rId11"/>
    <p:sldId id="383" r:id="rId12"/>
    <p:sldId id="384" r:id="rId13"/>
    <p:sldId id="385" r:id="rId14"/>
    <p:sldId id="386" r:id="rId15"/>
    <p:sldId id="387" r:id="rId16"/>
    <p:sldId id="422" r:id="rId17"/>
    <p:sldId id="389" r:id="rId18"/>
    <p:sldId id="424"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68717368-427D-4457-BE04-EAF2B549B130}">
          <p14:sldIdLst>
            <p14:sldId id="423"/>
            <p14:sldId id="377"/>
            <p14:sldId id="378"/>
            <p14:sldId id="379"/>
            <p14:sldId id="380"/>
            <p14:sldId id="381"/>
            <p14:sldId id="382"/>
            <p14:sldId id="383"/>
            <p14:sldId id="384"/>
            <p14:sldId id="385"/>
            <p14:sldId id="386"/>
            <p14:sldId id="387"/>
            <p14:sldId id="422"/>
            <p14:sldId id="389"/>
            <p14:sldId id="424"/>
          </p14:sldIdLst>
        </p14:section>
        <p14:section name="Untitled Section" id="{8CBDDA91-4699-4381-9114-3A495ACD0527}">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0070C0"/>
    <a:srgbClr val="DCDCDC"/>
    <a:srgbClr val="F3F3F3"/>
    <a:srgbClr val="B9B9B9"/>
    <a:srgbClr val="FDC536"/>
    <a:srgbClr val="FFAB44"/>
    <a:srgbClr val="FFFFFF"/>
    <a:srgbClr val="E5E5E5"/>
    <a:srgbClr val="7F7F7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1996" autoAdjust="0"/>
    <p:restoredTop sz="74119" autoAdjust="0"/>
  </p:normalViewPr>
  <p:slideViewPr>
    <p:cSldViewPr snapToGrid="0">
      <p:cViewPr varScale="1">
        <p:scale>
          <a:sx n="86" d="100"/>
          <a:sy n="86" d="100"/>
        </p:scale>
        <p:origin x="2430"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29B8BC2-3D02-4D92-8FB1-5AFC44C5C04B}" type="datetimeFigureOut">
              <a:rPr lang="en-US" smtClean="0"/>
              <a:t>1/2/201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8BEA3B-40C7-4A38-B67D-0570E7ECFAD1}" type="slidenum">
              <a:rPr lang="en-US" smtClean="0"/>
              <a:t>‹#›</a:t>
            </a:fld>
            <a:endParaRPr lang="en-US" dirty="0"/>
          </a:p>
        </p:txBody>
      </p:sp>
    </p:spTree>
    <p:extLst>
      <p:ext uri="{BB962C8B-B14F-4D97-AF65-F5344CB8AC3E}">
        <p14:creationId xmlns:p14="http://schemas.microsoft.com/office/powerpoint/2010/main" val="396196618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ank you for</a:t>
            </a:r>
            <a:r>
              <a:rPr lang="en-US" baseline="0" dirty="0" smtClean="0"/>
              <a:t> taking the time to view this training session.  In this session, we will provide an overview of Microsoft </a:t>
            </a:r>
            <a:r>
              <a:rPr lang="en-US" baseline="0" dirty="0" smtClean="0"/>
              <a:t>Azure pricing and configurations..</a:t>
            </a:r>
            <a:endParaRPr lang="en-US" baseline="0" dirty="0" smtClean="0"/>
          </a:p>
          <a:p>
            <a:endParaRPr lang="en-US" baseline="0" dirty="0" smtClean="0"/>
          </a:p>
          <a:p>
            <a:endParaRPr lang="en-US" dirty="0" smtClean="0"/>
          </a:p>
          <a:p>
            <a:endParaRPr lang="en-US" dirty="0"/>
          </a:p>
        </p:txBody>
      </p:sp>
      <p:sp>
        <p:nvSpPr>
          <p:cNvPr id="4" name="Slide Number Placeholder 3"/>
          <p:cNvSpPr>
            <a:spLocks noGrp="1"/>
          </p:cNvSpPr>
          <p:nvPr>
            <p:ph type="sldNum" sz="quarter" idx="10"/>
          </p:nvPr>
        </p:nvSpPr>
        <p:spPr/>
        <p:txBody>
          <a:bodyPr/>
          <a:lstStyle/>
          <a:p>
            <a:fld id="{DF8BEA3B-40C7-4A38-B67D-0570E7ECFAD1}" type="slidenum">
              <a:rPr lang="en-US" smtClean="0"/>
              <a:t>1</a:t>
            </a:fld>
            <a:endParaRPr lang="en-US" dirty="0"/>
          </a:p>
        </p:txBody>
      </p:sp>
    </p:spTree>
    <p:extLst>
      <p:ext uri="{BB962C8B-B14F-4D97-AF65-F5344CB8AC3E}">
        <p14:creationId xmlns:p14="http://schemas.microsoft.com/office/powerpoint/2010/main" val="7833131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What rights do you get?  Basically, you can use it internally.  You can host some special intellectual property that you’ve developed.  Or</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you can provide managed services or managed IT.  However, you cannot “white label” Azure services and just resell Azure services. You have to have some management component or some intellectual property on top of Azure in order for you to resell that Azure consumption.</a:t>
            </a:r>
            <a:endParaRPr lang="en-US" dirty="0" smtClean="0"/>
          </a:p>
          <a:p>
            <a:endParaRPr lang="en-US" dirty="0" smtClean="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225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2555"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26CC2ED8-D3F5-4515-8502-23322A9BC21B}" type="datetime1">
              <a:rPr lang="en-US" smtClean="0">
                <a:solidFill>
                  <a:prstClr val="black"/>
                </a:solidFill>
              </a:rPr>
              <a:pPr/>
              <a:t>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19895154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Got to MicrosoftAzure.com to</a:t>
            </a:r>
            <a:r>
              <a:rPr lang="en-US" sz="1200" kern="1200" baseline="0" dirty="0" smtClean="0">
                <a:solidFill>
                  <a:schemeClr val="tx1"/>
                </a:solidFill>
                <a:effectLst/>
                <a:latin typeface="+mn-lt"/>
                <a:ea typeface="+mn-ea"/>
                <a:cs typeface="+mn-cs"/>
              </a:rPr>
              <a:t> access Azure calculators.  Click on “p</a:t>
            </a:r>
            <a:r>
              <a:rPr lang="en-US" sz="1200" kern="1200" dirty="0" smtClean="0">
                <a:solidFill>
                  <a:schemeClr val="tx1"/>
                </a:solidFill>
                <a:effectLst/>
                <a:latin typeface="+mn-lt"/>
                <a:ea typeface="+mn-ea"/>
                <a:cs typeface="+mn-cs"/>
              </a:rPr>
              <a:t>ricing,” then select the pricing calculator.</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The </a:t>
            </a:r>
            <a:r>
              <a:rPr lang="en-US" sz="1200" kern="1200" dirty="0" smtClean="0">
                <a:solidFill>
                  <a:schemeClr val="tx1"/>
                </a:solidFill>
                <a:effectLst/>
                <a:latin typeface="+mn-lt"/>
                <a:ea typeface="+mn-ea"/>
                <a:cs typeface="+mn-cs"/>
              </a:rPr>
              <a:t>full calculator </a:t>
            </a:r>
            <a:r>
              <a:rPr lang="en-US" sz="1200" kern="1200" dirty="0" smtClean="0">
                <a:solidFill>
                  <a:schemeClr val="tx1"/>
                </a:solidFill>
                <a:effectLst/>
                <a:latin typeface="+mn-lt"/>
                <a:ea typeface="+mn-ea"/>
                <a:cs typeface="+mn-cs"/>
              </a:rPr>
              <a:t>gives </a:t>
            </a:r>
            <a:r>
              <a:rPr lang="en-US" sz="1200" kern="1200" dirty="0" smtClean="0">
                <a:solidFill>
                  <a:schemeClr val="tx1"/>
                </a:solidFill>
                <a:effectLst/>
                <a:latin typeface="+mn-lt"/>
                <a:ea typeface="+mn-ea"/>
                <a:cs typeface="+mn-cs"/>
              </a:rPr>
              <a:t>you everything. </a:t>
            </a:r>
            <a:r>
              <a:rPr lang="en-US" sz="1200" kern="1200" dirty="0" smtClean="0">
                <a:solidFill>
                  <a:schemeClr val="tx1"/>
                </a:solidFill>
                <a:effectLst/>
                <a:latin typeface="+mn-lt"/>
                <a:ea typeface="+mn-ea"/>
                <a:cs typeface="+mn-cs"/>
              </a:rPr>
              <a:t> This </a:t>
            </a:r>
            <a:r>
              <a:rPr lang="en-US" sz="1200" kern="1200" dirty="0" smtClean="0">
                <a:solidFill>
                  <a:schemeClr val="tx1"/>
                </a:solidFill>
                <a:effectLst/>
                <a:latin typeface="+mn-lt"/>
                <a:ea typeface="+mn-ea"/>
                <a:cs typeface="+mn-cs"/>
              </a:rPr>
              <a:t>is how you would price a standard </a:t>
            </a:r>
            <a:r>
              <a:rPr lang="en-US" sz="1200" kern="1200" dirty="0" smtClean="0">
                <a:solidFill>
                  <a:schemeClr val="tx1"/>
                </a:solidFill>
                <a:effectLst/>
                <a:latin typeface="+mn-lt"/>
                <a:ea typeface="+mn-ea"/>
                <a:cs typeface="+mn-cs"/>
              </a:rPr>
              <a:t>virtual machine.  For example, you can select the number of cores for processing power, how much RAM, and then you get a price.  Linux </a:t>
            </a:r>
            <a:r>
              <a:rPr lang="en-US" sz="1200" kern="1200" dirty="0" smtClean="0">
                <a:solidFill>
                  <a:schemeClr val="tx1"/>
                </a:solidFill>
                <a:effectLst/>
                <a:latin typeface="+mn-lt"/>
                <a:ea typeface="+mn-ea"/>
                <a:cs typeface="+mn-cs"/>
              </a:rPr>
              <a:t>machines, SQL machines, Oracle machines, all of the services are on </a:t>
            </a:r>
            <a:r>
              <a:rPr lang="en-US" sz="1200" kern="1200" dirty="0" smtClean="0">
                <a:solidFill>
                  <a:schemeClr val="tx1"/>
                </a:solidFill>
                <a:effectLst/>
                <a:latin typeface="+mn-lt"/>
                <a:ea typeface="+mn-ea"/>
                <a:cs typeface="+mn-cs"/>
              </a:rPr>
              <a:t>here.</a:t>
            </a:r>
            <a:r>
              <a:rPr lang="en-US" sz="1200" kern="1200" baseline="0" dirty="0" smtClean="0">
                <a:solidFill>
                  <a:schemeClr val="tx1"/>
                </a:solidFill>
                <a:effectLst/>
                <a:latin typeface="+mn-lt"/>
                <a:ea typeface="+mn-ea"/>
                <a:cs typeface="+mn-cs"/>
              </a:rPr>
              <a:t>  You can use the calculator to </a:t>
            </a:r>
            <a:r>
              <a:rPr lang="en-US" sz="1200" kern="1200" dirty="0" smtClean="0">
                <a:solidFill>
                  <a:schemeClr val="tx1"/>
                </a:solidFill>
                <a:effectLst/>
                <a:latin typeface="+mn-lt"/>
                <a:ea typeface="+mn-ea"/>
                <a:cs typeface="+mn-cs"/>
              </a:rPr>
              <a:t>do </a:t>
            </a:r>
            <a:r>
              <a:rPr lang="en-US" sz="1200" kern="1200" dirty="0" smtClean="0">
                <a:solidFill>
                  <a:schemeClr val="tx1"/>
                </a:solidFill>
                <a:effectLst/>
                <a:latin typeface="+mn-lt"/>
                <a:ea typeface="+mn-ea"/>
                <a:cs typeface="+mn-cs"/>
              </a:rPr>
              <a:t>a back-of-the-napkin type of cost estimation for the solutions that you are designing</a:t>
            </a:r>
            <a:r>
              <a:rPr lang="en-US" sz="1200" kern="1200" dirty="0" smtClean="0">
                <a:solidFill>
                  <a:schemeClr val="tx1"/>
                </a:solidFill>
                <a:effectLst/>
                <a:latin typeface="+mn-lt"/>
                <a:ea typeface="+mn-ea"/>
                <a:cs typeface="+mn-cs"/>
              </a:rPr>
              <a:t>.</a:t>
            </a:r>
          </a:p>
          <a:p>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DF8BEA3B-40C7-4A38-B67D-0570E7ECFAD1}" type="slidenum">
              <a:rPr lang="en-US" smtClean="0"/>
              <a:t>11</a:t>
            </a:fld>
            <a:endParaRPr lang="en-US" dirty="0"/>
          </a:p>
        </p:txBody>
      </p:sp>
    </p:spTree>
    <p:extLst>
      <p:ext uri="{BB962C8B-B14F-4D97-AF65-F5344CB8AC3E}">
        <p14:creationId xmlns:p14="http://schemas.microsoft.com/office/powerpoint/2010/main" val="21383377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Here’s a solution for a customer that wanted to replace its web app servers that are running on aging hardware. The customer wants the app to be highly available and reliable.</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f you know anything about Azure, you’ve got to deploy something what we call an “affinity group,” so it’s minimum of 2.  That’s how a customer gets an SLA of 99.95%.   So in this scenario, we have  two app servers.</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For the domain controller, 2 standard smalls, some networking, some disk storage, some backup, and some estimated egress traffic. That’s basically walking through that pricing calculator when you fill those things out.</a:t>
            </a:r>
          </a:p>
          <a:p>
            <a:endParaRPr lang="en-US" sz="1200" kern="1200" dirty="0" smtClean="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r>
              <a:rPr lang="en-US" dirty="0"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Microsoft,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FD3AB1-07F0-4340-908E-D1DD360C0F72}" type="datetime1">
              <a:rPr lang="en-US" smtClean="0">
                <a:solidFill>
                  <a:prstClr val="black"/>
                </a:solidFill>
              </a:rPr>
              <a:pPr/>
              <a:t>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9628148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Here’s another example.  This customer wants to provide Active Directory authentication for its Office 365 users and the rest of the company. So</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the customer gets two standard small VMs to run the domain controller</a:t>
            </a:r>
            <a:r>
              <a:rPr lang="en-US" sz="1200" kern="1200" baseline="0" dirty="0" smtClean="0">
                <a:solidFill>
                  <a:schemeClr val="tx1"/>
                </a:solidFill>
                <a:effectLst/>
                <a:latin typeface="+mn-lt"/>
                <a:ea typeface="+mn-ea"/>
                <a:cs typeface="+mn-cs"/>
              </a:rPr>
              <a:t> and </a:t>
            </a:r>
            <a:r>
              <a:rPr lang="en-US" sz="1200" kern="1200" dirty="0" smtClean="0">
                <a:solidFill>
                  <a:schemeClr val="tx1"/>
                </a:solidFill>
                <a:effectLst/>
                <a:latin typeface="+mn-lt"/>
                <a:ea typeface="+mn-ea"/>
                <a:cs typeface="+mn-cs"/>
              </a:rPr>
              <a:t>some networking.  Notice that the Active Directory components are basically free if you’re an Office 365 customer.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As mentioned before, prices</a:t>
            </a:r>
            <a:r>
              <a:rPr lang="en-US" sz="1200" kern="1200" baseline="0" dirty="0" smtClean="0">
                <a:solidFill>
                  <a:schemeClr val="tx1"/>
                </a:solidFill>
                <a:effectLst/>
                <a:latin typeface="+mn-lt"/>
                <a:ea typeface="+mn-ea"/>
                <a:cs typeface="+mn-cs"/>
              </a:rPr>
              <a:t> indicated are in U.S. dollars base don pricing at the time this course was developed.  Local prices may vary.</a:t>
            </a:r>
            <a:endParaRPr lang="en-US"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r>
              <a:rPr lang="en-US" dirty="0"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Microsoft,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FD3AB1-07F0-4340-908E-D1DD360C0F72}" type="datetime1">
              <a:rPr lang="en-US" smtClean="0">
                <a:solidFill>
                  <a:prstClr val="black"/>
                </a:solidFill>
              </a:rPr>
              <a:pPr/>
              <a:t>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3</a:t>
            </a:fld>
            <a:endParaRPr lang="en-US" dirty="0">
              <a:solidFill>
                <a:prstClr val="black"/>
              </a:solidFill>
            </a:endParaRPr>
          </a:p>
        </p:txBody>
      </p:sp>
    </p:spTree>
    <p:extLst>
      <p:ext uri="{BB962C8B-B14F-4D97-AF65-F5344CB8AC3E}">
        <p14:creationId xmlns:p14="http://schemas.microsoft.com/office/powerpoint/2010/main" val="16994055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Here’s one more example.</a:t>
            </a:r>
            <a:r>
              <a:rPr lang="en-US" sz="1200" kern="1200" baseline="0" dirty="0" smtClean="0">
                <a:solidFill>
                  <a:schemeClr val="tx1"/>
                </a:solidFill>
                <a:effectLst/>
                <a:latin typeface="+mn-lt"/>
                <a:ea typeface="+mn-ea"/>
                <a:cs typeface="+mn-cs"/>
              </a:rPr>
              <a:t>  This customer </a:t>
            </a:r>
            <a:r>
              <a:rPr lang="en-US" sz="1200" kern="1200" dirty="0" smtClean="0">
                <a:solidFill>
                  <a:schemeClr val="tx1"/>
                </a:solidFill>
                <a:effectLst/>
                <a:latin typeface="+mn-lt"/>
                <a:ea typeface="+mn-ea"/>
                <a:cs typeface="+mn-cs"/>
              </a:rPr>
              <a:t>wants to run scalable websites.  Again, we configure 2 basic Azure website machines with some storage, geo-redundancy, some egress traffic, and a basic SQL Serve machine to run its ASP.NET app.  This is different.  Azure Websites is more of a “platform as a service” offering,</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so the redundancy is built-in.  When you deploy a virtual machine, it is highly recommended that you create an affinity group.</a:t>
            </a:r>
          </a:p>
          <a:p>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One last time, prices</a:t>
            </a:r>
            <a:r>
              <a:rPr lang="en-US" sz="1200" kern="1200" baseline="0" dirty="0" smtClean="0">
                <a:solidFill>
                  <a:schemeClr val="tx1"/>
                </a:solidFill>
                <a:effectLst/>
                <a:latin typeface="+mn-lt"/>
                <a:ea typeface="+mn-ea"/>
                <a:cs typeface="+mn-cs"/>
              </a:rPr>
              <a:t> indicated are in U.S. dollars base don pricing at the time this course was developed.  Local prices may vary.</a:t>
            </a:r>
            <a:endParaRPr lang="en-US" sz="1200" kern="1200" dirty="0" smtClean="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r>
              <a:rPr lang="en-US" dirty="0" smtClean="0">
                <a:gradFill>
                  <a:gsLst>
                    <a:gs pos="0">
                      <a:prstClr val="black">
                        <a:lumMod val="50000"/>
                      </a:prstClr>
                    </a:gs>
                    <a:gs pos="100000">
                      <a:prstClr val="black">
                        <a:lumMod val="50000"/>
                      </a:prstClr>
                    </a:gs>
                  </a:gsLst>
                  <a:lin ang="5400000" scaled="0"/>
                </a:gradFill>
              </a:rPr>
              <a:t>Server &amp; Tools Business</a:t>
            </a:r>
            <a:endParaRPr lang="en-US" dirty="0">
              <a:gradFill>
                <a:gsLst>
                  <a:gs pos="0">
                    <a:prstClr val="black">
                      <a:lumMod val="50000"/>
                    </a:prstClr>
                  </a:gs>
                  <a:gs pos="100000">
                    <a:prstClr val="black">
                      <a:lumMod val="50000"/>
                    </a:prstClr>
                  </a:gs>
                </a:gsLst>
                <a:lin ang="5400000" scaled="0"/>
              </a:gradFill>
            </a:endParaRPr>
          </a:p>
        </p:txBody>
      </p:sp>
      <p:sp>
        <p:nvSpPr>
          <p:cNvPr id="5" name="Footer Placeholder 4"/>
          <p:cNvSpPr>
            <a:spLocks noGrp="1"/>
          </p:cNvSpPr>
          <p:nvPr>
            <p:ph type="ftr" sz="quarter" idx="11"/>
          </p:nvPr>
        </p:nvSpPr>
        <p:spPr/>
        <p:txBody>
          <a:bodyPr/>
          <a:lstStyle/>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Microsoft, and other product names are or may be registered trademarks and/or trademarks in the U.S. and/or other countries.</a:t>
            </a:r>
          </a:p>
          <a:p>
            <a:pPr defTabSz="931436"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0FD3AB1-07F0-4340-908E-D1DD360C0F72}" type="datetime1">
              <a:rPr lang="en-US" smtClean="0">
                <a:solidFill>
                  <a:prstClr val="black"/>
                </a:solidFill>
              </a:rPr>
              <a:pPr/>
              <a:t>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743186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ank you for taking the time to view this module.  We encourage you to review the other</a:t>
            </a:r>
            <a:r>
              <a:rPr lang="en-US" baseline="0" dirty="0" smtClean="0"/>
              <a:t> Microsoft Azure sales training modules.</a:t>
            </a:r>
            <a:endParaRPr lang="en-US" dirty="0"/>
          </a:p>
        </p:txBody>
      </p:sp>
      <p:sp>
        <p:nvSpPr>
          <p:cNvPr id="4" name="Slide Number Placeholder 3"/>
          <p:cNvSpPr>
            <a:spLocks noGrp="1"/>
          </p:cNvSpPr>
          <p:nvPr>
            <p:ph type="sldNum" sz="quarter" idx="10"/>
          </p:nvPr>
        </p:nvSpPr>
        <p:spPr/>
        <p:txBody>
          <a:bodyPr/>
          <a:lstStyle/>
          <a:p>
            <a:fld id="{DF8BEA3B-40C7-4A38-B67D-0570E7ECFAD1}" type="slidenum">
              <a:rPr lang="en-US" smtClean="0"/>
              <a:t>15</a:t>
            </a:fld>
            <a:endParaRPr lang="en-US" dirty="0"/>
          </a:p>
        </p:txBody>
      </p:sp>
    </p:spTree>
    <p:extLst>
      <p:ext uri="{BB962C8B-B14F-4D97-AF65-F5344CB8AC3E}">
        <p14:creationId xmlns:p14="http://schemas.microsoft.com/office/powerpoint/2010/main" val="6908706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MSDN customers get free Azure credits.</a:t>
            </a:r>
            <a:r>
              <a:rPr lang="en-US" sz="1200" kern="1200" baseline="0" dirty="0" smtClean="0">
                <a:solidFill>
                  <a:schemeClr val="tx1"/>
                </a:solidFill>
                <a:effectLst/>
                <a:latin typeface="+mn-lt"/>
                <a:ea typeface="+mn-ea"/>
                <a:cs typeface="+mn-cs"/>
              </a:rPr>
              <a:t> Additionally, customers can enjoy lower rates with a 33 percent discount on Windows virtual machines and 25 percent discount on Cloud Services, HDInsight, and reserved websites.  There is no additional charge for MSDN software in virtual hard disks that customers upload themselves.  Customers also get the flexibility to transfer Azure account services and benefits between different employees of the same organization.  And your customers can enable team development by allowing team members to share the same subscription, enabling collaboration while also providing isolation between teams and environment.</a:t>
            </a:r>
          </a:p>
          <a:p>
            <a:endParaRPr lang="en-US" sz="1200" kern="1200" baseline="0" dirty="0" smtClean="0">
              <a:solidFill>
                <a:schemeClr val="tx1"/>
              </a:solidFill>
              <a:effectLst/>
              <a:latin typeface="+mn-lt"/>
              <a:ea typeface="+mn-ea"/>
              <a:cs typeface="+mn-cs"/>
            </a:endParaRPr>
          </a:p>
          <a:p>
            <a:endParaRPr lang="en-US" sz="1200" kern="1200" baseline="0" dirty="0" smtClean="0">
              <a:solidFill>
                <a:schemeClr val="tx1"/>
              </a:solidFill>
              <a:effectLst/>
              <a:latin typeface="+mn-lt"/>
              <a:ea typeface="+mn-ea"/>
              <a:cs typeface="+mn-cs"/>
            </a:endParaRPr>
          </a:p>
          <a:p>
            <a:endParaRPr lang="en-US" sz="1200" kern="1200" baseline="0" dirty="0" smtClean="0">
              <a:solidFill>
                <a:schemeClr val="tx1"/>
              </a:solidFill>
              <a:effectLst/>
              <a:latin typeface="+mn-lt"/>
              <a:ea typeface="+mn-ea"/>
              <a:cs typeface="+mn-cs"/>
            </a:endParaRPr>
          </a:p>
          <a:p>
            <a:endParaRPr lang="en-US" sz="1200" kern="1200" baseline="0" dirty="0" smtClean="0">
              <a:solidFill>
                <a:schemeClr val="tx1"/>
              </a:solidFill>
              <a:effectLst/>
              <a:latin typeface="+mn-lt"/>
              <a:ea typeface="+mn-ea"/>
              <a:cs typeface="+mn-cs"/>
            </a:endParaRPr>
          </a:p>
          <a:p>
            <a:endParaRPr lang="en-US" sz="1200" kern="1200" baseline="0" dirty="0" smtClean="0">
              <a:solidFill>
                <a:schemeClr val="tx1"/>
              </a:solidFill>
              <a:effectLst/>
              <a:latin typeface="+mn-lt"/>
              <a:ea typeface="+mn-ea"/>
              <a:cs typeface="+mn-cs"/>
            </a:endParaRPr>
          </a:p>
          <a:p>
            <a:endParaRPr lang="en-US" sz="1200" kern="1200" baseline="0" dirty="0" smtClean="0">
              <a:solidFill>
                <a:schemeClr val="tx1"/>
              </a:solidFill>
              <a:effectLst/>
              <a:latin typeface="+mn-lt"/>
              <a:ea typeface="+mn-ea"/>
              <a:cs typeface="+mn-cs"/>
            </a:endParaRPr>
          </a:p>
          <a:p>
            <a:endParaRPr lang="en-US" sz="1200" kern="1200" baseline="0" dirty="0" smtClean="0">
              <a:solidFill>
                <a:schemeClr val="tx1"/>
              </a:solidFill>
              <a:effectLst/>
              <a:latin typeface="+mn-lt"/>
              <a:ea typeface="+mn-ea"/>
              <a:cs typeface="+mn-cs"/>
            </a:endParaRPr>
          </a:p>
          <a:p>
            <a:endParaRPr lang="en-US" dirty="0" smtClean="0"/>
          </a:p>
          <a:p>
            <a:endParaRPr lang="en-US" dirty="0"/>
          </a:p>
        </p:txBody>
      </p:sp>
      <p:sp>
        <p:nvSpPr>
          <p:cNvPr id="4" name="Slide Number Placeholder 3"/>
          <p:cNvSpPr>
            <a:spLocks noGrp="1"/>
          </p:cNvSpPr>
          <p:nvPr>
            <p:ph type="sldNum" sz="quarter" idx="10"/>
          </p:nvPr>
        </p:nvSpPr>
        <p:spPr/>
        <p:txBody>
          <a:bodyPr/>
          <a:lstStyle/>
          <a:p>
            <a:fld id="{DF8BEA3B-40C7-4A38-B67D-0570E7ECFAD1}" type="slidenum">
              <a:rPr lang="en-US" smtClean="0"/>
              <a:t>2</a:t>
            </a:fld>
            <a:endParaRPr lang="en-US" dirty="0"/>
          </a:p>
        </p:txBody>
      </p:sp>
    </p:spTree>
    <p:extLst>
      <p:ext uri="{BB962C8B-B14F-4D97-AF65-F5344CB8AC3E}">
        <p14:creationId xmlns:p14="http://schemas.microsoft.com/office/powerpoint/2010/main" val="31153590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ere are just a few examples of what</a:t>
            </a:r>
            <a:r>
              <a:rPr lang="en-US" baseline="0" dirty="0" smtClean="0"/>
              <a:t> the $100 per month credit could enable your customers to do.  They could run 3 virtual machines for 16 hours each day, or use 80 virtual machines for a 20 hour load test.  Obviously, your customers can do whatever they like with the credit.</a:t>
            </a:r>
            <a:endParaRPr lang="en-US" dirty="0"/>
          </a:p>
        </p:txBody>
      </p:sp>
      <p:sp>
        <p:nvSpPr>
          <p:cNvPr id="4" name="Slide Number Placeholder 3"/>
          <p:cNvSpPr>
            <a:spLocks noGrp="1"/>
          </p:cNvSpPr>
          <p:nvPr>
            <p:ph type="sldNum" sz="quarter" idx="10"/>
          </p:nvPr>
        </p:nvSpPr>
        <p:spPr/>
        <p:txBody>
          <a:bodyPr/>
          <a:lstStyle/>
          <a:p>
            <a:fld id="{DF8BEA3B-40C7-4A38-B67D-0570E7ECFAD1}" type="slidenum">
              <a:rPr lang="en-US" smtClean="0"/>
              <a:t>3</a:t>
            </a:fld>
            <a:endParaRPr lang="en-US" dirty="0"/>
          </a:p>
        </p:txBody>
      </p:sp>
    </p:spTree>
    <p:extLst>
      <p:ext uri="{BB962C8B-B14F-4D97-AF65-F5344CB8AC3E}">
        <p14:creationId xmlns:p14="http://schemas.microsoft.com/office/powerpoint/2010/main" val="134914992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704850"/>
            <a:ext cx="6246812" cy="3514725"/>
          </a:xfrm>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How </a:t>
            </a:r>
            <a:r>
              <a:rPr lang="en-US" sz="1200" kern="1200" dirty="0" smtClean="0">
                <a:solidFill>
                  <a:schemeClr val="tx1"/>
                </a:solidFill>
                <a:effectLst/>
                <a:latin typeface="+mn-lt"/>
                <a:ea typeface="+mn-ea"/>
                <a:cs typeface="+mn-cs"/>
              </a:rPr>
              <a:t>do customers buy Azure? They can </a:t>
            </a:r>
            <a:r>
              <a:rPr lang="en-US" sz="1200" kern="1200" dirty="0" smtClean="0">
                <a:solidFill>
                  <a:schemeClr val="tx1"/>
                </a:solidFill>
                <a:effectLst/>
                <a:latin typeface="+mn-lt"/>
                <a:ea typeface="+mn-ea"/>
                <a:cs typeface="+mn-cs"/>
              </a:rPr>
              <a:t>buy </a:t>
            </a:r>
            <a:r>
              <a:rPr lang="en-US" sz="1200" kern="1200" dirty="0" smtClean="0">
                <a:solidFill>
                  <a:schemeClr val="tx1"/>
                </a:solidFill>
                <a:effectLst/>
                <a:latin typeface="+mn-lt"/>
                <a:ea typeface="+mn-ea"/>
                <a:cs typeface="+mn-cs"/>
              </a:rPr>
              <a:t>it with a credit card and </a:t>
            </a:r>
            <a:r>
              <a:rPr lang="en-US" sz="1200" kern="1200" dirty="0" smtClean="0">
                <a:solidFill>
                  <a:schemeClr val="tx1"/>
                </a:solidFill>
                <a:effectLst/>
                <a:latin typeface="+mn-lt"/>
                <a:ea typeface="+mn-ea"/>
                <a:cs typeface="+mn-cs"/>
              </a:rPr>
              <a:t>pay as they use services.  Or</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they can sign </a:t>
            </a:r>
            <a:r>
              <a:rPr lang="en-US" sz="1200" kern="1200" dirty="0" smtClean="0">
                <a:solidFill>
                  <a:schemeClr val="tx1"/>
                </a:solidFill>
                <a:effectLst/>
                <a:latin typeface="+mn-lt"/>
                <a:ea typeface="+mn-ea"/>
                <a:cs typeface="+mn-cs"/>
              </a:rPr>
              <a:t>an </a:t>
            </a:r>
            <a:r>
              <a:rPr lang="en-US" sz="1200" kern="1200" dirty="0" smtClean="0">
                <a:solidFill>
                  <a:schemeClr val="tx1"/>
                </a:solidFill>
                <a:effectLst/>
                <a:latin typeface="+mn-lt"/>
                <a:ea typeface="+mn-ea"/>
                <a:cs typeface="+mn-cs"/>
              </a:rPr>
              <a:t>Enterprise Agreement.</a:t>
            </a:r>
            <a:r>
              <a:rPr lang="en-US" sz="1200" kern="1200" baseline="0" dirty="0" smtClean="0">
                <a:solidFill>
                  <a:schemeClr val="tx1"/>
                </a:solidFill>
                <a:effectLst/>
                <a:latin typeface="+mn-lt"/>
                <a:ea typeface="+mn-ea"/>
                <a:cs typeface="+mn-cs"/>
              </a:rPr>
              <a:t>  When t</a:t>
            </a:r>
            <a:r>
              <a:rPr lang="en-US" sz="1200" kern="1200" dirty="0" smtClean="0">
                <a:solidFill>
                  <a:schemeClr val="tx1"/>
                </a:solidFill>
                <a:effectLst/>
                <a:latin typeface="+mn-lt"/>
                <a:ea typeface="+mn-ea"/>
                <a:cs typeface="+mn-cs"/>
              </a:rPr>
              <a:t>hey </a:t>
            </a:r>
            <a:r>
              <a:rPr lang="en-US" sz="1200" kern="1200" dirty="0" smtClean="0">
                <a:solidFill>
                  <a:schemeClr val="tx1"/>
                </a:solidFill>
                <a:effectLst/>
                <a:latin typeface="+mn-lt"/>
                <a:ea typeface="+mn-ea"/>
                <a:cs typeface="+mn-cs"/>
              </a:rPr>
              <a:t>add it to an </a:t>
            </a:r>
            <a:r>
              <a:rPr lang="en-US" sz="1200" kern="1200" dirty="0" smtClean="0">
                <a:solidFill>
                  <a:schemeClr val="tx1"/>
                </a:solidFill>
                <a:effectLst/>
                <a:latin typeface="+mn-lt"/>
                <a:ea typeface="+mn-ea"/>
                <a:cs typeface="+mn-cs"/>
              </a:rPr>
              <a:t>Enterprise Agreement,</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they </a:t>
            </a:r>
            <a:r>
              <a:rPr lang="en-US" sz="1200" kern="1200" dirty="0" smtClean="0">
                <a:solidFill>
                  <a:schemeClr val="tx1"/>
                </a:solidFill>
                <a:effectLst/>
                <a:latin typeface="+mn-lt"/>
                <a:ea typeface="+mn-ea"/>
                <a:cs typeface="+mn-cs"/>
              </a:rPr>
              <a:t>pay upfront but they get a reduced </a:t>
            </a:r>
            <a:r>
              <a:rPr lang="en-US" sz="1200" kern="1200" dirty="0" smtClean="0">
                <a:solidFill>
                  <a:schemeClr val="tx1"/>
                </a:solidFill>
                <a:effectLst/>
                <a:latin typeface="+mn-lt"/>
                <a:ea typeface="+mn-ea"/>
                <a:cs typeface="+mn-cs"/>
              </a:rPr>
              <a:t>price.</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Or</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they can buy </a:t>
            </a:r>
            <a:r>
              <a:rPr lang="en-US" sz="1200" kern="1200" dirty="0" smtClean="0">
                <a:solidFill>
                  <a:schemeClr val="tx1"/>
                </a:solidFill>
                <a:effectLst/>
                <a:latin typeface="+mn-lt"/>
                <a:ea typeface="+mn-ea"/>
                <a:cs typeface="+mn-cs"/>
              </a:rPr>
              <a:t>it through </a:t>
            </a:r>
            <a:r>
              <a:rPr lang="en-US" sz="1200" kern="1200" dirty="0" smtClean="0">
                <a:solidFill>
                  <a:schemeClr val="tx1"/>
                </a:solidFill>
                <a:effectLst/>
                <a:latin typeface="+mn-lt"/>
                <a:ea typeface="+mn-ea"/>
                <a:cs typeface="+mn-cs"/>
              </a:rPr>
              <a:t>Open </a:t>
            </a:r>
            <a:r>
              <a:rPr lang="en-US" sz="1200" kern="1200" dirty="0" smtClean="0">
                <a:solidFill>
                  <a:schemeClr val="tx1"/>
                </a:solidFill>
                <a:effectLst/>
                <a:latin typeface="+mn-lt"/>
                <a:ea typeface="+mn-ea"/>
                <a:cs typeface="+mn-cs"/>
              </a:rPr>
              <a:t>licensing where they get a </a:t>
            </a:r>
            <a:r>
              <a:rPr lang="en-US" sz="1200" kern="1200" dirty="0" smtClean="0">
                <a:solidFill>
                  <a:schemeClr val="tx1"/>
                </a:solidFill>
                <a:effectLst/>
                <a:latin typeface="+mn-lt"/>
                <a:ea typeface="+mn-ea"/>
                <a:cs typeface="+mn-cs"/>
              </a:rPr>
              <a:t>discount.</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They </a:t>
            </a:r>
            <a:r>
              <a:rPr lang="en-US" sz="1200" kern="1200" dirty="0" smtClean="0">
                <a:solidFill>
                  <a:schemeClr val="tx1"/>
                </a:solidFill>
                <a:effectLst/>
                <a:latin typeface="+mn-lt"/>
                <a:ea typeface="+mn-ea"/>
                <a:cs typeface="+mn-cs"/>
              </a:rPr>
              <a:t>buy $100 tokens on Azure and they just continue to buy tokens as they need more </a:t>
            </a:r>
            <a:r>
              <a:rPr lang="en-US" sz="1200" kern="1200" dirty="0" smtClean="0">
                <a:solidFill>
                  <a:schemeClr val="tx1"/>
                </a:solidFill>
                <a:effectLst/>
                <a:latin typeface="+mn-lt"/>
                <a:ea typeface="+mn-ea"/>
                <a:cs typeface="+mn-cs"/>
              </a:rPr>
              <a:t>services.</a:t>
            </a:r>
          </a:p>
          <a:p>
            <a:endParaRPr lang="en-US" sz="1200"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t a high level, Azure is </a:t>
            </a:r>
            <a:r>
              <a:rPr lang="en-US" baseline="0" dirty="0" smtClean="0"/>
              <a:t>an ever-growing bundle of distinct cloud services that customers can use across our network of global datacenters.  Each one of those services has it’s own costs associated.  Each service has it’s own set of usage meters and prices.  The typical way a cloud customer pays for these services on MicrosoftAzure.com is with a credit card once a month, but customers can also take advantage of licensing agreements like the Enterprise Agreement or Open license to save money and align licensing with their other Microsoft services.</a:t>
            </a:r>
            <a:endParaRPr lang="en-US" dirty="0" smtClean="0"/>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 will go into more detail on the Monetary</a:t>
            </a:r>
            <a:r>
              <a:rPr lang="en-US" sz="1200" kern="1200" baseline="0" dirty="0" smtClean="0">
                <a:solidFill>
                  <a:schemeClr val="tx1"/>
                </a:solidFill>
                <a:effectLst/>
                <a:latin typeface="+mn-lt"/>
                <a:ea typeface="+mn-ea"/>
                <a:cs typeface="+mn-cs"/>
              </a:rPr>
              <a:t> Commitment option on the next slide.</a:t>
            </a:r>
            <a:endParaRPr lang="en-US" sz="1200" kern="1200" dirty="0" smtClean="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48910"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8910"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5E56260-AE7C-4E4F-9D5E-9FB6E640C9EE}" type="datetime1">
              <a:rPr lang="en-US" smtClean="0">
                <a:solidFill>
                  <a:prstClr val="black"/>
                </a:solidFill>
              </a:rPr>
              <a:pPr/>
              <a:t>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0352965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704850"/>
            <a:ext cx="6246812" cy="3514725"/>
          </a:xfrm>
        </p:spPr>
      </p:sp>
      <p:sp>
        <p:nvSpPr>
          <p:cNvPr id="3" name="Notes Placeholder 2"/>
          <p:cNvSpPr>
            <a:spLocks noGrp="1"/>
          </p:cNvSpPr>
          <p:nvPr>
            <p:ph type="body" idx="1"/>
          </p:nvPr>
        </p:nvSpPr>
        <p:spPr/>
        <p:txBody>
          <a:bodyPr/>
          <a:lstStyle/>
          <a:p>
            <a:r>
              <a:rPr lang="en-US" dirty="0" smtClean="0"/>
              <a:t>Furthermore, any solution</a:t>
            </a:r>
            <a:r>
              <a:rPr lang="en-US" baseline="0" dirty="0" smtClean="0"/>
              <a:t> </a:t>
            </a:r>
            <a:r>
              <a:rPr lang="en-US" baseline="0" dirty="0" smtClean="0"/>
              <a:t>your customers deploy </a:t>
            </a:r>
            <a:r>
              <a:rPr lang="en-US" baseline="0" dirty="0" smtClean="0"/>
              <a:t>on Azure is going to consume a variety of these services, </a:t>
            </a:r>
            <a:r>
              <a:rPr lang="en-US" baseline="0" dirty="0" smtClean="0"/>
              <a:t>and each is charged </a:t>
            </a:r>
            <a:r>
              <a:rPr lang="en-US" baseline="0" dirty="0" smtClean="0"/>
              <a:t>via </a:t>
            </a:r>
            <a:r>
              <a:rPr lang="en-US" baseline="0" dirty="0" smtClean="0"/>
              <a:t>its own </a:t>
            </a:r>
            <a:r>
              <a:rPr lang="en-US" baseline="0" dirty="0" smtClean="0"/>
              <a:t>price and meter </a:t>
            </a:r>
            <a:r>
              <a:rPr lang="en-US" baseline="0" dirty="0" smtClean="0"/>
              <a:t>(for example, per gigabyte per month, per compute size per minute, etc.).</a:t>
            </a:r>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48910"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8910"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5E56260-AE7C-4E4F-9D5E-9FB6E640C9EE}" type="datetime1">
              <a:rPr lang="en-US" smtClean="0">
                <a:solidFill>
                  <a:prstClr val="black"/>
                </a:solidFill>
              </a:rPr>
              <a:pPr/>
              <a:t>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5006475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0688" y="704850"/>
            <a:ext cx="6246812" cy="3514725"/>
          </a:xfrm>
        </p:spPr>
      </p:sp>
      <p:sp>
        <p:nvSpPr>
          <p:cNvPr id="3" name="Notes Placeholder 2"/>
          <p:cNvSpPr>
            <a:spLocks noGrp="1"/>
          </p:cNvSpPr>
          <p:nvPr>
            <p:ph type="body" idx="1"/>
          </p:nvPr>
        </p:nvSpPr>
        <p:spPr/>
        <p:txBody>
          <a:bodyPr/>
          <a:lstStyle/>
          <a:p>
            <a:r>
              <a:rPr lang="en-US" dirty="0" smtClean="0"/>
              <a:t>Furthermore, any solution</a:t>
            </a:r>
            <a:r>
              <a:rPr lang="en-US" baseline="0" dirty="0" smtClean="0"/>
              <a:t> you deploy on Azure is going to consume a variety of these services, that are each charged via their own price and meter (ex. per GB/per month, per compute size per minute, etc.).  It’s complex, sort of like a cell phone bill with a number of different charges accruing to your total monthly price.</a:t>
            </a:r>
            <a:endParaRPr lang="en-US" dirty="0"/>
          </a:p>
        </p:txBody>
      </p:sp>
      <p:sp>
        <p:nvSpPr>
          <p:cNvPr id="4" name="Header Placeholder 3"/>
          <p:cNvSpPr>
            <a:spLocks noGrp="1"/>
          </p:cNvSpPr>
          <p:nvPr>
            <p:ph type="hdr" sz="quarter" idx="10"/>
          </p:nvPr>
        </p:nvSpPr>
        <p:spPr/>
        <p:txBody>
          <a:bodyPr/>
          <a:lstStyle/>
          <a:p>
            <a:r>
              <a:rPr lang="en-US" dirty="0" smtClean="0">
                <a:solidFill>
                  <a:prstClr val="black"/>
                </a:solidFill>
              </a:rPr>
              <a:t>Server &amp; Tools Business</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48910"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8910"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C5E56260-AE7C-4E4F-9D5E-9FB6E640C9EE}" type="datetime1">
              <a:rPr lang="en-US" smtClean="0">
                <a:solidFill>
                  <a:prstClr val="black"/>
                </a:solidFill>
              </a:rPr>
              <a:pPr/>
              <a:t>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42678092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425" y="754063"/>
            <a:ext cx="6688138" cy="3762375"/>
          </a:xfrm>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Microsoft has announced publicly multiple times that we will not lose on </a:t>
            </a:r>
            <a:r>
              <a:rPr lang="en-US" sz="1200" kern="1200" dirty="0" smtClean="0">
                <a:solidFill>
                  <a:schemeClr val="tx1"/>
                </a:solidFill>
                <a:effectLst/>
                <a:latin typeface="+mn-lt"/>
                <a:ea typeface="+mn-ea"/>
                <a:cs typeface="+mn-cs"/>
              </a:rPr>
              <a:t>price.</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I </a:t>
            </a:r>
            <a:r>
              <a:rPr lang="en-US" sz="1200" kern="1200" dirty="0" smtClean="0">
                <a:solidFill>
                  <a:schemeClr val="tx1"/>
                </a:solidFill>
                <a:effectLst/>
                <a:latin typeface="+mn-lt"/>
                <a:ea typeface="+mn-ea"/>
                <a:cs typeface="+mn-cs"/>
              </a:rPr>
              <a:t>think you’ve all witnessed the price wars that are going on. </a:t>
            </a:r>
            <a:r>
              <a:rPr lang="en-US" sz="1200" kern="1200" dirty="0" smtClean="0">
                <a:solidFill>
                  <a:schemeClr val="tx1"/>
                </a:solidFill>
                <a:effectLst/>
                <a:latin typeface="+mn-lt"/>
                <a:ea typeface="+mn-ea"/>
                <a:cs typeface="+mn-cs"/>
              </a:rPr>
              <a:t> One </a:t>
            </a:r>
            <a:r>
              <a:rPr lang="en-US" sz="1200" kern="1200" dirty="0" smtClean="0">
                <a:solidFill>
                  <a:schemeClr val="tx1"/>
                </a:solidFill>
                <a:effectLst/>
                <a:latin typeface="+mn-lt"/>
                <a:ea typeface="+mn-ea"/>
                <a:cs typeface="+mn-cs"/>
              </a:rPr>
              <a:t>month after Amazon drops </a:t>
            </a:r>
            <a:r>
              <a:rPr lang="en-US" sz="1200" kern="1200" dirty="0" smtClean="0">
                <a:solidFill>
                  <a:schemeClr val="tx1"/>
                </a:solidFill>
                <a:effectLst/>
                <a:latin typeface="+mn-lt"/>
                <a:ea typeface="+mn-ea"/>
                <a:cs typeface="+mn-cs"/>
              </a:rPr>
              <a:t>its price</a:t>
            </a:r>
            <a:r>
              <a:rPr lang="en-US" sz="1200" kern="1200" dirty="0" smtClean="0">
                <a:solidFill>
                  <a:schemeClr val="tx1"/>
                </a:solidFill>
                <a:effectLst/>
                <a:latin typeface="+mn-lt"/>
                <a:ea typeface="+mn-ea"/>
                <a:cs typeface="+mn-cs"/>
              </a:rPr>
              <a:t>, we match them. We drop the price, Amazon matches </a:t>
            </a:r>
            <a:r>
              <a:rPr lang="en-US" sz="1200" kern="1200" dirty="0" smtClean="0">
                <a:solidFill>
                  <a:schemeClr val="tx1"/>
                </a:solidFill>
                <a:effectLst/>
                <a:latin typeface="+mn-lt"/>
                <a:ea typeface="+mn-ea"/>
                <a:cs typeface="+mn-cs"/>
              </a:rPr>
              <a:t>us.  The reality is, though, that Microsoft is committed to remaining competitive</a:t>
            </a:r>
            <a:r>
              <a:rPr lang="en-US" sz="1200" kern="1200" baseline="0" dirty="0" smtClean="0">
                <a:solidFill>
                  <a:schemeClr val="tx1"/>
                </a:solidFill>
                <a:effectLst/>
                <a:latin typeface="+mn-lt"/>
                <a:ea typeface="+mn-ea"/>
                <a:cs typeface="+mn-cs"/>
              </a:rPr>
              <a:t> on price.</a:t>
            </a:r>
            <a:endParaRPr lang="en-US"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5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5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8513622-F8A4-47C9-B891-179FD9F51C62}" type="datetime1">
              <a:rPr lang="en-US" smtClean="0">
                <a:solidFill>
                  <a:prstClr val="black"/>
                </a:solidFill>
              </a:rPr>
              <a:pPr/>
              <a:t>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917694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425" y="754063"/>
            <a:ext cx="6688138" cy="376237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A lot of customers purchase through their EA. They can bundle Azure into their existing EA or they can do an Azure-only EA, if they wish to. What that means is, depending on the level that they purchase, they get discounts or savings between</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3 percent and 12 percent (based</a:t>
            </a:r>
            <a:r>
              <a:rPr lang="en-US" sz="1200" kern="1200" baseline="0" dirty="0" smtClean="0">
                <a:solidFill>
                  <a:schemeClr val="tx1"/>
                </a:solidFill>
                <a:effectLst/>
                <a:latin typeface="+mn-lt"/>
                <a:ea typeface="+mn-ea"/>
                <a:cs typeface="+mn-cs"/>
              </a:rPr>
              <a:t> on October 2014 pricing</a:t>
            </a:r>
            <a:r>
              <a:rPr lang="en-US" sz="1200" kern="1200" dirty="0" smtClean="0">
                <a:solidFill>
                  <a:schemeClr val="tx1"/>
                </a:solidFill>
                <a:effectLst/>
                <a:latin typeface="+mn-lt"/>
                <a:ea typeface="+mn-ea"/>
                <a:cs typeface="+mn-cs"/>
              </a:rPr>
              <a:t>).</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The old discount for Azure starting at 27 percent is only valid for the series A virtual machines, HDInsight, and Azure websites.  Everything else in Azure falls into this category.</a:t>
            </a:r>
            <a:endParaRPr lang="en-US" dirty="0" smtClean="0"/>
          </a:p>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145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1457"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A8513622-F8A4-47C9-B891-179FD9F51C62}" type="datetime1">
              <a:rPr lang="en-US" smtClean="0">
                <a:solidFill>
                  <a:prstClr val="black"/>
                </a:solidFill>
              </a:rPr>
              <a:pPr/>
              <a:t>1/2/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6868530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Are you providing </a:t>
            </a:r>
            <a:r>
              <a:rPr lang="en-US" sz="1200" kern="1200" dirty="0" smtClean="0">
                <a:solidFill>
                  <a:schemeClr val="tx1"/>
                </a:solidFill>
                <a:effectLst/>
                <a:latin typeface="+mn-lt"/>
                <a:ea typeface="+mn-ea"/>
                <a:cs typeface="+mn-cs"/>
              </a:rPr>
              <a:t>managed services on </a:t>
            </a:r>
            <a:r>
              <a:rPr lang="en-US" sz="1200" kern="1200" dirty="0" smtClean="0">
                <a:solidFill>
                  <a:schemeClr val="tx1"/>
                </a:solidFill>
                <a:effectLst/>
                <a:latin typeface="+mn-lt"/>
                <a:ea typeface="+mn-ea"/>
                <a:cs typeface="+mn-cs"/>
              </a:rPr>
              <a:t>Azure?</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is</a:t>
            </a:r>
            <a:r>
              <a:rPr lang="en-US" sz="1200" kern="1200" baseline="0" dirty="0" smtClean="0">
                <a:solidFill>
                  <a:schemeClr val="tx1"/>
                </a:solidFill>
                <a:effectLst/>
                <a:latin typeface="+mn-lt"/>
                <a:ea typeface="+mn-ea"/>
                <a:cs typeface="+mn-cs"/>
              </a:rPr>
              <a:t> is one area where Microsoft is hearing of a lot of partner interest.  </a:t>
            </a:r>
            <a:r>
              <a:rPr lang="en-US" sz="1200" kern="1200" dirty="0" smtClean="0">
                <a:solidFill>
                  <a:schemeClr val="tx1"/>
                </a:solidFill>
                <a:effectLst/>
                <a:latin typeface="+mn-lt"/>
                <a:ea typeface="+mn-ea"/>
                <a:cs typeface="+mn-cs"/>
              </a:rPr>
              <a:t>You </a:t>
            </a:r>
            <a:r>
              <a:rPr lang="en-US" sz="1200" kern="1200" dirty="0" smtClean="0">
                <a:solidFill>
                  <a:schemeClr val="tx1"/>
                </a:solidFill>
                <a:effectLst/>
                <a:latin typeface="+mn-lt"/>
                <a:ea typeface="+mn-ea"/>
                <a:cs typeface="+mn-cs"/>
              </a:rPr>
              <a:t>have the ability to purchase Azure for yourself. </a:t>
            </a:r>
            <a:r>
              <a:rPr lang="en-US" sz="1200" kern="1200" dirty="0" smtClean="0">
                <a:solidFill>
                  <a:schemeClr val="tx1"/>
                </a:solidFill>
                <a:effectLst/>
                <a:latin typeface="+mn-lt"/>
                <a:ea typeface="+mn-ea"/>
                <a:cs typeface="+mn-cs"/>
              </a:rPr>
              <a:t> You </a:t>
            </a:r>
            <a:r>
              <a:rPr lang="en-US" sz="1200" kern="1200" dirty="0" smtClean="0">
                <a:solidFill>
                  <a:schemeClr val="tx1"/>
                </a:solidFill>
                <a:effectLst/>
                <a:latin typeface="+mn-lt"/>
                <a:ea typeface="+mn-ea"/>
                <a:cs typeface="+mn-cs"/>
              </a:rPr>
              <a:t>can use it internally for your operations, </a:t>
            </a:r>
            <a:r>
              <a:rPr lang="en-US" sz="1200" kern="1200" dirty="0" smtClean="0">
                <a:solidFill>
                  <a:schemeClr val="tx1"/>
                </a:solidFill>
                <a:effectLst/>
                <a:latin typeface="+mn-lt"/>
                <a:ea typeface="+mn-ea"/>
                <a:cs typeface="+mn-cs"/>
              </a:rPr>
              <a:t>demonstrations, </a:t>
            </a:r>
            <a:r>
              <a:rPr lang="en-US" sz="1200" kern="1200" dirty="0" smtClean="0">
                <a:solidFill>
                  <a:schemeClr val="tx1"/>
                </a:solidFill>
                <a:effectLst/>
                <a:latin typeface="+mn-lt"/>
                <a:ea typeface="+mn-ea"/>
                <a:cs typeface="+mn-cs"/>
              </a:rPr>
              <a:t>Dev &amp; Test, and for hosting your customer solutions and become a hoster, only that your data center is Azure. </a:t>
            </a:r>
            <a:endParaRPr lang="en-US"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ere </a:t>
            </a:r>
            <a:r>
              <a:rPr lang="en-US" sz="1200" kern="1200" dirty="0" smtClean="0">
                <a:solidFill>
                  <a:schemeClr val="tx1"/>
                </a:solidFill>
                <a:effectLst/>
                <a:latin typeface="+mn-lt"/>
                <a:ea typeface="+mn-ea"/>
                <a:cs typeface="+mn-cs"/>
              </a:rPr>
              <a:t>are no additional agreements for you to sign. There are no additional contracts for you to sign. You could buy an Azure EA for yourself or your </a:t>
            </a:r>
            <a:r>
              <a:rPr lang="en-US" sz="1200" kern="1200" dirty="0" smtClean="0">
                <a:solidFill>
                  <a:schemeClr val="tx1"/>
                </a:solidFill>
                <a:effectLst/>
                <a:latin typeface="+mn-lt"/>
                <a:ea typeface="+mn-ea"/>
                <a:cs typeface="+mn-cs"/>
              </a:rPr>
              <a:t>company.</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Partners </a:t>
            </a:r>
            <a:r>
              <a:rPr lang="en-US" sz="1200" kern="1200" dirty="0" smtClean="0">
                <a:solidFill>
                  <a:schemeClr val="tx1"/>
                </a:solidFill>
                <a:effectLst/>
                <a:latin typeface="+mn-lt"/>
                <a:ea typeface="+mn-ea"/>
                <a:cs typeface="+mn-cs"/>
              </a:rPr>
              <a:t>that own an Azure EA </a:t>
            </a:r>
            <a:r>
              <a:rPr lang="en-US" sz="1200" kern="1200" dirty="0" smtClean="0">
                <a:solidFill>
                  <a:schemeClr val="tx1"/>
                </a:solidFill>
                <a:effectLst/>
                <a:latin typeface="+mn-lt"/>
                <a:ea typeface="+mn-ea"/>
                <a:cs typeface="+mn-cs"/>
              </a:rPr>
              <a:t>can host </a:t>
            </a:r>
            <a:r>
              <a:rPr lang="en-US" sz="1200" kern="1200" dirty="0" smtClean="0">
                <a:solidFill>
                  <a:schemeClr val="tx1"/>
                </a:solidFill>
                <a:effectLst/>
                <a:latin typeface="+mn-lt"/>
                <a:ea typeface="+mn-ea"/>
                <a:cs typeface="+mn-cs"/>
              </a:rPr>
              <a:t>solutions for their customers. It accelerates the sales process and it puts a lot more money in your pocket</a:t>
            </a:r>
            <a:r>
              <a:rPr lang="en-US" sz="1200" kern="1200" dirty="0" smtClean="0">
                <a:solidFill>
                  <a:schemeClr val="tx1"/>
                </a:solidFill>
                <a:effectLst/>
                <a:latin typeface="+mn-lt"/>
                <a:ea typeface="+mn-ea"/>
                <a:cs typeface="+mn-cs"/>
              </a:rPr>
              <a:t>.</a:t>
            </a:r>
          </a:p>
          <a:p>
            <a:endParaRPr lang="en-US" sz="1200" kern="1200" dirty="0" smtClean="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DF8BEA3B-40C7-4A38-B67D-0570E7ECFAD1}" type="slidenum">
              <a:rPr lang="en-US" smtClean="0"/>
              <a:t>9</a:t>
            </a:fld>
            <a:endParaRPr lang="en-US" dirty="0"/>
          </a:p>
        </p:txBody>
      </p:sp>
    </p:spTree>
    <p:extLst>
      <p:ext uri="{BB962C8B-B14F-4D97-AF65-F5344CB8AC3E}">
        <p14:creationId xmlns:p14="http://schemas.microsoft.com/office/powerpoint/2010/main" val="132763883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8" Type="http://schemas.openxmlformats.org/officeDocument/2006/relationships/oleObject" Target="../embeddings/oleObject15.bin"/><Relationship Id="rId3" Type="http://schemas.openxmlformats.org/officeDocument/2006/relationships/tags" Target="../tags/tag16.xml"/><Relationship Id="rId7"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tags" Target="../tags/tag19.xml"/><Relationship Id="rId5" Type="http://schemas.openxmlformats.org/officeDocument/2006/relationships/tags" Target="../tags/tag18.xml"/><Relationship Id="rId4" Type="http://schemas.openxmlformats.org/officeDocument/2006/relationships/tags" Target="../tags/tag17.xml"/><Relationship Id="rId9"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tags" Target="../tags/tag21.xml"/><Relationship Id="rId7"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6.vml"/><Relationship Id="rId6" Type="http://schemas.openxmlformats.org/officeDocument/2006/relationships/tags" Target="../tags/tag24.xml"/><Relationship Id="rId5" Type="http://schemas.openxmlformats.org/officeDocument/2006/relationships/tags" Target="../tags/tag23.xml"/><Relationship Id="rId4" Type="http://schemas.openxmlformats.org/officeDocument/2006/relationships/tags" Target="../tags/tag22.xml"/><Relationship Id="rId9"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Solid">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73511" y="437233"/>
            <a:ext cx="1470700" cy="337911"/>
          </a:xfrm>
          <a:prstGeom prst="rect">
            <a:avLst/>
          </a:prstGeom>
          <a:noFill/>
          <a:ln>
            <a:noFill/>
          </a:ln>
        </p:spPr>
      </p:pic>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692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269240" y="2100815"/>
            <a:ext cx="11007660" cy="1686801"/>
          </a:xfrm>
        </p:spPr>
        <p:txBody>
          <a:bodyPr/>
          <a:lstStyle>
            <a:lvl1pPr>
              <a:defRPr sz="5882">
                <a:solidFill>
                  <a:schemeClr val="bg1"/>
                </a:solidFill>
              </a:defRPr>
            </a:lvl1pPr>
          </a:lstStyle>
          <a:p>
            <a:r>
              <a:rPr lang="en-US" smtClean="0"/>
              <a:t>Headline here</a:t>
            </a:r>
            <a:endParaRPr lang="en-US"/>
          </a:p>
        </p:txBody>
      </p:sp>
      <p:sp>
        <p:nvSpPr>
          <p:cNvPr id="3" name="Subtitle 2"/>
          <p:cNvSpPr>
            <a:spLocks noGrp="1"/>
          </p:cNvSpPr>
          <p:nvPr>
            <p:ph type="subTitle" idx="1" hasCustomPrompt="1"/>
          </p:nvPr>
        </p:nvSpPr>
        <p:spPr>
          <a:xfrm>
            <a:off x="269302" y="3877277"/>
            <a:ext cx="8534711"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smtClean="0"/>
              <a:t>Speaker Name</a:t>
            </a:r>
            <a:br>
              <a:rPr lang="en-US" smtClean="0"/>
            </a:br>
            <a:r>
              <a:rPr lang="en-US" smtClean="0"/>
              <a:t>Date</a:t>
            </a:r>
          </a:p>
        </p:txBody>
      </p:sp>
    </p:spTree>
    <p:extLst>
      <p:ext uri="{BB962C8B-B14F-4D97-AF65-F5344CB8AC3E}">
        <p14:creationId xmlns:p14="http://schemas.microsoft.com/office/powerpoint/2010/main" val="1154853967"/>
      </p:ext>
    </p:extLst>
  </p:cSld>
  <p:clrMapOvr>
    <a:masterClrMapping/>
  </p:clrMapOvr>
  <p:transition spd="med">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ategories">
    <p:spTree>
      <p:nvGrpSpPr>
        <p:cNvPr id="1" name=""/>
        <p:cNvGrpSpPr/>
        <p:nvPr/>
      </p:nvGrpSpPr>
      <p:grpSpPr>
        <a:xfrm>
          <a:off x="0" y="0"/>
          <a:ext cx="0" cy="0"/>
          <a:chOff x="0" y="0"/>
          <a:chExt cx="0" cy="0"/>
        </a:xfrm>
      </p:grpSpPr>
      <p:sp>
        <p:nvSpPr>
          <p:cNvPr id="11" name="Text Placeholder 4"/>
          <p:cNvSpPr>
            <a:spLocks noGrp="1"/>
          </p:cNvSpPr>
          <p:nvPr>
            <p:ph type="body" sz="quarter" idx="10"/>
          </p:nvPr>
        </p:nvSpPr>
        <p:spPr>
          <a:xfrm>
            <a:off x="269239" y="2622111"/>
            <a:ext cx="8067798" cy="512990"/>
          </a:xfrm>
        </p:spPr>
        <p:txBody>
          <a:bodyPr lIns="182880"/>
          <a:lstStyle>
            <a:lvl1pPr marL="0" indent="0">
              <a:buFontTx/>
              <a:buNone/>
              <a:defRPr sz="2353">
                <a:solidFill>
                  <a:schemeClr val="tx2"/>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
        <p:nvSpPr>
          <p:cNvPr id="12" name="Text Placeholder 4"/>
          <p:cNvSpPr>
            <a:spLocks noGrp="1"/>
          </p:cNvSpPr>
          <p:nvPr>
            <p:ph type="body" sz="quarter" idx="11"/>
          </p:nvPr>
        </p:nvSpPr>
        <p:spPr>
          <a:xfrm>
            <a:off x="269240" y="348573"/>
            <a:ext cx="8067798" cy="617619"/>
          </a:xfrm>
        </p:spPr>
        <p:txBody>
          <a:bodyPr lIns="146304" tIns="109728" rIns="146304" bIns="109728" anchor="t" anchorCtr="0"/>
          <a:lstStyle>
            <a:lvl1pPr marL="0" indent="0">
              <a:lnSpc>
                <a:spcPts val="3529"/>
              </a:lnSpc>
              <a:buFontTx/>
              <a:buNone/>
              <a:defRPr sz="3529">
                <a:solidFill>
                  <a:schemeClr val="accent1"/>
                </a:solidFill>
                <a:latin typeface="+mj-lt"/>
              </a:defRPr>
            </a:lvl1pPr>
            <a:lvl2pPr marL="336113" indent="0">
              <a:buFontTx/>
              <a:buNone/>
              <a:defRPr sz="3529">
                <a:latin typeface="Segoe Pro Light"/>
              </a:defRPr>
            </a:lvl2pPr>
            <a:lvl3pPr marL="560187" indent="0">
              <a:buFontTx/>
              <a:buNone/>
              <a:defRPr sz="3529">
                <a:latin typeface="Segoe Pro Light"/>
              </a:defRPr>
            </a:lvl3pPr>
            <a:lvl4pPr marL="784261" indent="0">
              <a:buFontTx/>
              <a:buNone/>
              <a:defRPr sz="3529">
                <a:latin typeface="Segoe Pro Light"/>
              </a:defRPr>
            </a:lvl4pPr>
            <a:lvl5pPr marL="1008335" indent="0">
              <a:buFontTx/>
              <a:buNone/>
              <a:defRPr sz="3529">
                <a:latin typeface="Segoe Pro Light"/>
              </a:defRPr>
            </a:lvl5pPr>
          </a:lstStyle>
          <a:p>
            <a:pPr lvl="0"/>
            <a:r>
              <a:rPr lang="en-US" smtClean="0"/>
              <a:t>Click to edit Master text styles</a:t>
            </a:r>
          </a:p>
        </p:txBody>
      </p:sp>
      <p:sp>
        <p:nvSpPr>
          <p:cNvPr id="4" name="Text Placeholder 11"/>
          <p:cNvSpPr>
            <a:spLocks noGrp="1" noChangeAspect="1"/>
          </p:cNvSpPr>
          <p:nvPr>
            <p:ph type="body" sz="quarter" idx="13"/>
          </p:nvPr>
        </p:nvSpPr>
        <p:spPr>
          <a:xfrm>
            <a:off x="269239"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1" name="Text Placeholder 11"/>
          <p:cNvSpPr>
            <a:spLocks noGrp="1" noChangeAspect="1"/>
          </p:cNvSpPr>
          <p:nvPr>
            <p:ph type="body" sz="quarter" idx="20"/>
          </p:nvPr>
        </p:nvSpPr>
        <p:spPr>
          <a:xfrm>
            <a:off x="3197757"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2" name="Text Placeholder 11"/>
          <p:cNvSpPr>
            <a:spLocks noGrp="1" noChangeAspect="1"/>
          </p:cNvSpPr>
          <p:nvPr>
            <p:ph type="body" sz="quarter" idx="21"/>
          </p:nvPr>
        </p:nvSpPr>
        <p:spPr>
          <a:xfrm>
            <a:off x="6126275"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3" name="Text Placeholder 11"/>
          <p:cNvSpPr>
            <a:spLocks noGrp="1" noChangeAspect="1"/>
          </p:cNvSpPr>
          <p:nvPr>
            <p:ph type="body" sz="quarter" idx="22"/>
          </p:nvPr>
        </p:nvSpPr>
        <p:spPr>
          <a:xfrm>
            <a:off x="9054794" y="3516228"/>
            <a:ext cx="2688994" cy="2689656"/>
          </a:xfrm>
          <a:noFill/>
        </p:spPr>
        <p:txBody>
          <a:bodyPr lIns="182880" tIns="146304" rIns="182880" bIns="146304" anchor="b" anchorCtr="0">
            <a:noAutofit/>
          </a:bodyPr>
          <a:lstStyle>
            <a:lvl1pPr marL="0" indent="0">
              <a:lnSpc>
                <a:spcPct val="100000"/>
              </a:lnSpc>
              <a:spcBef>
                <a:spcPts val="588"/>
              </a:spcBef>
              <a:buFontTx/>
              <a:buNone/>
              <a:defRPr sz="2353">
                <a:solidFill>
                  <a:schemeClr val="bg1"/>
                </a:solidFill>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smtClean="0"/>
              <a:t>Click to edit Master text styles</a:t>
            </a:r>
          </a:p>
        </p:txBody>
      </p:sp>
      <p:sp>
        <p:nvSpPr>
          <p:cNvPr id="3" name="Footer Placeholder 2"/>
          <p:cNvSpPr>
            <a:spLocks noGrp="1"/>
          </p:cNvSpPr>
          <p:nvPr>
            <p:ph type="ftr" sz="quarter" idx="23"/>
          </p:nvPr>
        </p:nvSpPr>
        <p:spPr/>
        <p:txBody>
          <a:bodyPr/>
          <a:lstStyle>
            <a:lvl1pPr>
              <a:defRPr>
                <a:solidFill>
                  <a:schemeClr val="bg1"/>
                </a:solidFill>
              </a:defRPr>
            </a:lvl1pPr>
          </a:lstStyle>
          <a:p>
            <a:r>
              <a:rPr dirty="0" smtClean="0">
                <a:solidFill>
                  <a:srgbClr val="FFFFFF"/>
                </a:solidFill>
              </a:rPr>
              <a:t>Microsoft Confidential</a:t>
            </a:r>
            <a:endParaRPr dirty="0">
              <a:solidFill>
                <a:srgbClr val="FFFFFF"/>
              </a:solidFill>
            </a:endParaRPr>
          </a:p>
        </p:txBody>
      </p:sp>
      <p:sp>
        <p:nvSpPr>
          <p:cNvPr id="5" name="Slide Number Placeholder 4"/>
          <p:cNvSpPr>
            <a:spLocks noGrp="1"/>
          </p:cNvSpPr>
          <p:nvPr>
            <p:ph type="sldNum" sz="quarter" idx="24"/>
          </p:nvPr>
        </p:nvSpPr>
        <p:spPr/>
        <p:txBody>
          <a:bodyPr/>
          <a:lstStyle>
            <a:lvl1pPr>
              <a:defRPr>
                <a:solidFill>
                  <a:schemeClr val="bg1"/>
                </a:solidFill>
              </a:defRPr>
            </a:lvl1pPr>
          </a:lstStyle>
          <a:p>
            <a:fld id="{27258FFF-F925-446B-8502-81C933981705}" type="slidenum">
              <a:rPr smtClean="0">
                <a:solidFill>
                  <a:srgbClr val="FFFFFF"/>
                </a:solidFill>
              </a:rPr>
              <a:pPr/>
              <a:t>‹#›</a:t>
            </a:fld>
            <a:endParaRPr dirty="0">
              <a:solidFill>
                <a:srgbClr val="FFFFFF"/>
              </a:solidFill>
            </a:endParaRPr>
          </a:p>
        </p:txBody>
      </p:sp>
    </p:spTree>
    <p:extLst>
      <p:ext uri="{BB962C8B-B14F-4D97-AF65-F5344CB8AC3E}">
        <p14:creationId xmlns:p14="http://schemas.microsoft.com/office/powerpoint/2010/main" val="2056656080"/>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 Categories">
    <p:spTree>
      <p:nvGrpSpPr>
        <p:cNvPr id="1" name=""/>
        <p:cNvGrpSpPr/>
        <p:nvPr/>
      </p:nvGrpSpPr>
      <p:grpSpPr>
        <a:xfrm>
          <a:off x="0" y="0"/>
          <a:ext cx="0" cy="0"/>
          <a:chOff x="0" y="0"/>
          <a:chExt cx="0" cy="0"/>
        </a:xfrm>
      </p:grpSpPr>
      <p:sp>
        <p:nvSpPr>
          <p:cNvPr id="2" name="Text Placeholder 4"/>
          <p:cNvSpPr>
            <a:spLocks noGrp="1"/>
          </p:cNvSpPr>
          <p:nvPr>
            <p:ph type="body" sz="quarter" idx="10"/>
          </p:nvPr>
        </p:nvSpPr>
        <p:spPr>
          <a:xfrm>
            <a:off x="510963" y="368325"/>
            <a:ext cx="6274790" cy="448271"/>
          </a:xfrm>
        </p:spPr>
        <p:txBody>
          <a:bodyPr lIns="182880" tIns="146304" rIns="182880" bIns="146304" anchor="ctr" anchorCtr="0"/>
          <a:lstStyle>
            <a:lvl1pPr marL="0" indent="0">
              <a:lnSpc>
                <a:spcPts val="2745"/>
              </a:lnSpc>
              <a:spcBef>
                <a:spcPts val="0"/>
              </a:spcBef>
              <a:buFontTx/>
              <a:buNone/>
              <a:defRPr sz="2353">
                <a:solidFill>
                  <a:schemeClr val="accent1"/>
                </a:solidFill>
                <a:latin typeface="+mj-lt"/>
              </a:defRPr>
            </a:lvl1pPr>
            <a:lvl2pPr marL="336113" indent="0">
              <a:buFontTx/>
              <a:buNone/>
              <a:defRPr sz="2353">
                <a:latin typeface="Segoe Pro Light"/>
              </a:defRPr>
            </a:lvl2pPr>
            <a:lvl3pPr marL="560187" indent="0">
              <a:buFontTx/>
              <a:buNone/>
              <a:defRPr sz="2353">
                <a:latin typeface="Segoe Pro Light"/>
              </a:defRPr>
            </a:lvl3pPr>
            <a:lvl4pPr marL="784261" indent="0">
              <a:buFontTx/>
              <a:buNone/>
              <a:defRPr sz="2353">
                <a:latin typeface="Segoe Pro Light"/>
              </a:defRPr>
            </a:lvl4pPr>
            <a:lvl5pPr marL="1008335" indent="0">
              <a:buFontTx/>
              <a:buNone/>
              <a:defRPr sz="2353">
                <a:latin typeface="Segoe Pro Light"/>
              </a:defRPr>
            </a:lvl5pPr>
          </a:lstStyle>
          <a:p>
            <a:pPr lvl="0"/>
            <a:r>
              <a:rPr lang="en-US" smtClean="0"/>
              <a:t>Click to edit Master text styles</a:t>
            </a:r>
          </a:p>
        </p:txBody>
      </p:sp>
      <p:sp>
        <p:nvSpPr>
          <p:cNvPr id="27" name="Text Placeholder 26"/>
          <p:cNvSpPr>
            <a:spLocks noGrp="1"/>
          </p:cNvSpPr>
          <p:nvPr>
            <p:ph type="body" sz="quarter" idx="29" hasCustomPrompt="1"/>
          </p:nvPr>
        </p:nvSpPr>
        <p:spPr>
          <a:xfrm>
            <a:off x="538224" y="1070596"/>
            <a:ext cx="268927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a:t>
            </a:r>
            <a:r>
              <a:rPr lang="en-US" smtClean="0"/>
              <a:t>to edit </a:t>
            </a:r>
            <a:r>
              <a:rPr lang="en-US" dirty="0" smtClean="0"/>
              <a:t/>
            </a:r>
            <a:br>
              <a:rPr lang="en-US" dirty="0" smtClean="0"/>
            </a:br>
            <a:r>
              <a:rPr lang="en-US" dirty="0" smtClean="0"/>
              <a:t>Master text styles</a:t>
            </a:r>
          </a:p>
        </p:txBody>
      </p:sp>
      <p:sp>
        <p:nvSpPr>
          <p:cNvPr id="28" name="Text Placeholder 26"/>
          <p:cNvSpPr>
            <a:spLocks noGrp="1"/>
          </p:cNvSpPr>
          <p:nvPr>
            <p:ph type="body" sz="quarter" idx="30" hasCustomPrompt="1"/>
          </p:nvPr>
        </p:nvSpPr>
        <p:spPr>
          <a:xfrm>
            <a:off x="3347106"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0" name="Text Placeholder 26"/>
          <p:cNvSpPr>
            <a:spLocks noGrp="1"/>
          </p:cNvSpPr>
          <p:nvPr>
            <p:ph type="body" sz="quarter" idx="32" hasCustomPrompt="1"/>
          </p:nvPr>
        </p:nvSpPr>
        <p:spPr>
          <a:xfrm>
            <a:off x="6155707"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2" name="Text Placeholder 26"/>
          <p:cNvSpPr>
            <a:spLocks noGrp="1"/>
          </p:cNvSpPr>
          <p:nvPr>
            <p:ph type="body" sz="quarter" idx="33" hasCustomPrompt="1"/>
          </p:nvPr>
        </p:nvSpPr>
        <p:spPr>
          <a:xfrm>
            <a:off x="8964310" y="1070596"/>
            <a:ext cx="2688994" cy="2689656"/>
          </a:xfrm>
        </p:spPr>
        <p:txBody>
          <a:bodyPr lIns="146304" tIns="91440" rIns="146304" bIns="91440">
            <a:noAutofit/>
          </a:bodyPr>
          <a:lstStyle>
            <a:lvl1pPr marL="0" indent="0">
              <a:buFontTx/>
              <a:buNone/>
              <a:defRPr sz="2353">
                <a:solidFill>
                  <a:schemeClr val="tx2"/>
                </a:solidFill>
                <a:latin typeface="+mj-lt"/>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7" name="Text Placeholder 26"/>
          <p:cNvSpPr>
            <a:spLocks noGrp="1"/>
          </p:cNvSpPr>
          <p:nvPr>
            <p:ph type="body" sz="quarter" idx="38" hasCustomPrompt="1"/>
          </p:nvPr>
        </p:nvSpPr>
        <p:spPr>
          <a:xfrm>
            <a:off x="538224" y="3877269"/>
            <a:ext cx="2689274" cy="2510690"/>
          </a:xfrm>
        </p:spPr>
        <p:txBody>
          <a:bodyPr lIns="182880" tIns="146304" bIns="146304">
            <a:noAutofit/>
          </a:bodyPr>
          <a:lstStyle>
            <a:lvl1pPr marL="0" indent="0">
              <a:lnSpc>
                <a:spcPct val="90000"/>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43" name="Text Placeholder 26"/>
          <p:cNvSpPr>
            <a:spLocks noGrp="1"/>
          </p:cNvSpPr>
          <p:nvPr>
            <p:ph type="body" sz="quarter" idx="39" hasCustomPrompt="1"/>
          </p:nvPr>
        </p:nvSpPr>
        <p:spPr>
          <a:xfrm>
            <a:off x="3347189"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45" name="Text Placeholder 26"/>
          <p:cNvSpPr>
            <a:spLocks noGrp="1"/>
          </p:cNvSpPr>
          <p:nvPr>
            <p:ph type="body" sz="quarter" idx="41" hasCustomPrompt="1"/>
          </p:nvPr>
        </p:nvSpPr>
        <p:spPr>
          <a:xfrm>
            <a:off x="8964560"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Segoe Pro"/>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1" name="Text Placeholder 26"/>
          <p:cNvSpPr>
            <a:spLocks noGrp="1"/>
          </p:cNvSpPr>
          <p:nvPr>
            <p:ph type="body" sz="quarter" idx="42" hasCustomPrompt="1"/>
          </p:nvPr>
        </p:nvSpPr>
        <p:spPr>
          <a:xfrm>
            <a:off x="6155874" y="3877271"/>
            <a:ext cx="2688994" cy="2510662"/>
          </a:xfrm>
        </p:spPr>
        <p:txBody>
          <a:bodyPr lIns="182880" tIns="146304" bIns="146304">
            <a:noAutofit/>
          </a:bodyPr>
          <a:lstStyle>
            <a:lvl1pPr marL="0" indent="0">
              <a:lnSpc>
                <a:spcPts val="1412"/>
              </a:lnSpc>
              <a:spcBef>
                <a:spcPts val="294"/>
              </a:spcBef>
              <a:spcAft>
                <a:spcPts val="588"/>
              </a:spcAft>
              <a:buFontTx/>
              <a:buNone/>
              <a:defRPr sz="1176" b="0">
                <a:solidFill>
                  <a:schemeClr val="tx2"/>
                </a:solidFill>
                <a:latin typeface="+mn-lt"/>
                <a:cs typeface="Segoe Pro"/>
              </a:defRPr>
            </a:lvl1pPr>
            <a:lvl2pPr marL="336113" indent="0">
              <a:buFontTx/>
              <a:buNone/>
              <a:defRPr/>
            </a:lvl2pPr>
            <a:lvl3pPr marL="560187" indent="0">
              <a:buFontTx/>
              <a:buNone/>
              <a:defRPr/>
            </a:lvl3pPr>
            <a:lvl4pPr marL="784261" indent="0">
              <a:buFontTx/>
              <a:buNone/>
              <a:defRPr/>
            </a:lvl4pPr>
            <a:lvl5pPr marL="1008335" indent="0">
              <a:buFontTx/>
              <a:buNone/>
              <a:defRPr/>
            </a:lvl5pPr>
          </a:lstStyle>
          <a:p>
            <a:pPr lvl="0"/>
            <a:r>
              <a:rPr lang="en-US" dirty="0" smtClean="0"/>
              <a:t>Click to edit </a:t>
            </a:r>
            <a:br>
              <a:rPr lang="en-US" dirty="0" smtClean="0"/>
            </a:br>
            <a:r>
              <a:rPr lang="en-US" dirty="0" smtClean="0"/>
              <a:t>Master text styles</a:t>
            </a:r>
          </a:p>
        </p:txBody>
      </p:sp>
      <p:sp>
        <p:nvSpPr>
          <p:cNvPr id="3" name="Footer Placeholder 2"/>
          <p:cNvSpPr>
            <a:spLocks noGrp="1"/>
          </p:cNvSpPr>
          <p:nvPr>
            <p:ph type="ftr" sz="quarter" idx="43"/>
          </p:nvPr>
        </p:nvSpPr>
        <p:spPr>
          <a:xfrm>
            <a:off x="269240" y="6576365"/>
            <a:ext cx="3859607" cy="134483"/>
          </a:xfrm>
        </p:spPr>
        <p:txBody>
          <a:bodyPr/>
          <a:lstStyle>
            <a:lvl1pPr>
              <a:defRPr>
                <a:solidFill>
                  <a:srgbClr val="505050"/>
                </a:solidFill>
              </a:defRPr>
            </a:lvl1pPr>
          </a:lstStyle>
          <a:p>
            <a:r>
              <a:rPr dirty="0" smtClean="0"/>
              <a:t>Microsoft Confidential</a:t>
            </a:r>
            <a:endParaRPr dirty="0"/>
          </a:p>
        </p:txBody>
      </p:sp>
      <p:sp>
        <p:nvSpPr>
          <p:cNvPr id="4" name="Slide Number Placeholder 3"/>
          <p:cNvSpPr>
            <a:spLocks noGrp="1"/>
          </p:cNvSpPr>
          <p:nvPr>
            <p:ph type="sldNum" sz="quarter" idx="44"/>
          </p:nvPr>
        </p:nvSpPr>
        <p:spPr>
          <a:xfrm>
            <a:off x="11367166" y="6576365"/>
            <a:ext cx="555596" cy="134483"/>
          </a:xfrm>
        </p:spPr>
        <p:txBody>
          <a:bodyPr/>
          <a:lstStyle>
            <a:lvl1pPr>
              <a:defRPr>
                <a:solidFill>
                  <a:srgbClr val="505050"/>
                </a:solidFill>
              </a:defRPr>
            </a:lvl1pPr>
          </a:lstStyle>
          <a:p>
            <a:fld id="{27258FFF-F925-446B-8502-81C933981705}" type="slidenum">
              <a:rPr smtClean="0"/>
              <a:pPr/>
              <a:t>‹#›</a:t>
            </a:fld>
            <a:endParaRPr dirty="0"/>
          </a:p>
        </p:txBody>
      </p:sp>
    </p:spTree>
    <p:extLst>
      <p:ext uri="{BB962C8B-B14F-4D97-AF65-F5344CB8AC3E}">
        <p14:creationId xmlns:p14="http://schemas.microsoft.com/office/powerpoint/2010/main" val="1765959022"/>
      </p:ext>
    </p:extLst>
  </p:cSld>
  <p:clrMapOvr>
    <a:masterClrMapping/>
  </p:clrMapOvr>
  <p:transition spd="med">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88pt Text- Gray Background">
    <p:bg>
      <p:bgPr>
        <a:solidFill>
          <a:srgbClr val="505050"/>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613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dirty="0" smtClean="0"/>
              <a:t>Title</a:t>
            </a:r>
            <a:endParaRPr lang="en-US" dirty="0"/>
          </a:p>
        </p:txBody>
      </p:sp>
    </p:spTree>
    <p:extLst>
      <p:ext uri="{BB962C8B-B14F-4D97-AF65-F5344CB8AC3E}">
        <p14:creationId xmlns:p14="http://schemas.microsoft.com/office/powerpoint/2010/main" val="1520616595"/>
      </p:ext>
    </p:extLst>
  </p:cSld>
  <p:clrMapOvr>
    <a:masterClrMapping/>
  </p:clrMapOvr>
  <p:transition spd="med">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 Black Background">
    <p:bg>
      <p:bgPr>
        <a:solidFill>
          <a:schemeClr val="tx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71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1"/>
          <p:cNvSpPr>
            <a:spLocks noGrp="1"/>
          </p:cNvSpPr>
          <p:nvPr>
            <p:ph type="ctrTitle" hasCustomPrompt="1"/>
          </p:nvPr>
        </p:nvSpPr>
        <p:spPr>
          <a:xfrm>
            <a:off x="573713" y="2100815"/>
            <a:ext cx="11007660" cy="1686801"/>
          </a:xfrm>
        </p:spPr>
        <p:txBody>
          <a:bodyPr/>
          <a:lstStyle>
            <a:lvl1pPr>
              <a:defRPr sz="8627">
                <a:solidFill>
                  <a:schemeClr val="bg1"/>
                </a:solidFill>
              </a:defRPr>
            </a:lvl1pPr>
          </a:lstStyle>
          <a:p>
            <a:r>
              <a:rPr lang="en-US" dirty="0" smtClean="0"/>
              <a:t>Title</a:t>
            </a:r>
            <a:endParaRPr lang="en-US" dirty="0"/>
          </a:p>
        </p:txBody>
      </p:sp>
    </p:spTree>
    <p:extLst>
      <p:ext uri="{BB962C8B-B14F-4D97-AF65-F5344CB8AC3E}">
        <p14:creationId xmlns:p14="http://schemas.microsoft.com/office/powerpoint/2010/main" val="245165455"/>
      </p:ext>
    </p:extLst>
  </p:cSld>
  <p:clrMapOvr>
    <a:masterClrMapping/>
  </p:clrMapOvr>
  <p:transition spd="med">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hank You Slide Soli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818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ctrTitle" hasCustomPrompt="1"/>
          </p:nvPr>
        </p:nvSpPr>
        <p:spPr>
          <a:xfrm>
            <a:off x="269240" y="2622112"/>
            <a:ext cx="11007660" cy="1703429"/>
          </a:xfrm>
        </p:spPr>
        <p:txBody>
          <a:bodyPr anchor="ctr"/>
          <a:lstStyle>
            <a:lvl1pPr>
              <a:defRPr sz="5882">
                <a:solidFill>
                  <a:schemeClr val="tx2"/>
                </a:solidFill>
              </a:defRPr>
            </a:lvl1pPr>
          </a:lstStyle>
          <a:p>
            <a:r>
              <a:rPr lang="en-US" smtClean="0"/>
              <a:t>Thank you</a:t>
            </a:r>
            <a:endParaRPr lang="en-US"/>
          </a:p>
        </p:txBody>
      </p:sp>
      <p:pic>
        <p:nvPicPr>
          <p:cNvPr id="4" name="Picture 3"/>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470996" y="482863"/>
            <a:ext cx="1225864" cy="261495"/>
          </a:xfrm>
          <a:prstGeom prst="rect">
            <a:avLst/>
          </a:prstGeom>
        </p:spPr>
      </p:pic>
    </p:spTree>
    <p:extLst>
      <p:ext uri="{BB962C8B-B14F-4D97-AF65-F5344CB8AC3E}">
        <p14:creationId xmlns:p14="http://schemas.microsoft.com/office/powerpoint/2010/main" val="1571304877"/>
      </p:ext>
    </p:extLst>
  </p:cSld>
  <p:clrMapOvr>
    <a:masterClrMapping/>
  </p:clrMapOvr>
  <p:transition spd="med">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91425" y="2988506"/>
            <a:ext cx="3800476" cy="873205"/>
          </a:xfrm>
          <a:prstGeom prst="rect">
            <a:avLst/>
          </a:prstGeom>
          <a:noFill/>
          <a:ln>
            <a:noFill/>
          </a:ln>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921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85741856"/>
      </p:ext>
    </p:extLst>
  </p:cSld>
  <p:clrMapOvr>
    <a:masterClrMapping/>
  </p:clrMapOvr>
  <p:transition spd="med">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532"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0" y="192024"/>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0" y="850392"/>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643" indent="0">
              <a:buNone/>
              <a:defRPr/>
            </a:lvl2pPr>
            <a:lvl3pPr marL="588411" indent="0">
              <a:buNone/>
              <a:defRPr/>
            </a:lvl3pPr>
            <a:lvl4pPr marL="870053" indent="0">
              <a:buNone/>
              <a:defRPr/>
            </a:lvl4pPr>
            <a:lvl5pPr marL="1105417" indent="0">
              <a:buNone/>
              <a:defRPr/>
            </a:lvl5pPr>
          </a:lstStyle>
          <a:p>
            <a:pPr lvl="0"/>
            <a:r>
              <a:rPr lang="en-US" dirty="0" smtClean="0"/>
              <a:t>Click to add subtitle</a:t>
            </a:r>
          </a:p>
        </p:txBody>
      </p:sp>
      <p:sp>
        <p:nvSpPr>
          <p:cNvPr id="16" name="Text Placeholder 15"/>
          <p:cNvSpPr>
            <a:spLocks noGrp="1"/>
          </p:cNvSpPr>
          <p:nvPr>
            <p:ph type="body" sz="quarter" idx="14"/>
            <p:custDataLst>
              <p:tags r:id="rId5"/>
            </p:custDataLst>
          </p:nvPr>
        </p:nvSpPr>
        <p:spPr>
          <a:xfrm>
            <a:off x="404813" y="1330325"/>
            <a:ext cx="11365992" cy="49180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Slide Number Placeholder 18"/>
          <p:cNvSpPr>
            <a:spLocks noGrp="1"/>
          </p:cNvSpPr>
          <p:nvPr>
            <p:ph type="sldNum" sz="quarter" idx="15"/>
            <p:custDataLst>
              <p:tags r:id="rId6"/>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6091406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556"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custDataLst>
              <p:tags r:id="rId3"/>
            </p:custDataLst>
          </p:nvPr>
        </p:nvSpPr>
        <p:spPr>
          <a:xfrm>
            <a:off x="0" y="192024"/>
            <a:ext cx="12192000" cy="646042"/>
          </a:xfrm>
        </p:spPr>
        <p:txBody>
          <a:bodyPr>
            <a:noAutofit/>
          </a:bodyPr>
          <a:lstStyle>
            <a:lvl1pPr>
              <a:defRPr/>
            </a:lvl1pPr>
          </a:lstStyle>
          <a:p>
            <a:endParaRPr lang="en-US" dirty="0"/>
          </a:p>
        </p:txBody>
      </p:sp>
      <p:sp>
        <p:nvSpPr>
          <p:cNvPr id="6" name="Text Placeholder 5"/>
          <p:cNvSpPr>
            <a:spLocks noGrp="1"/>
          </p:cNvSpPr>
          <p:nvPr>
            <p:ph type="body" sz="quarter" idx="13" hasCustomPrompt="1"/>
            <p:custDataLst>
              <p:tags r:id="rId4"/>
            </p:custDataLst>
          </p:nvPr>
        </p:nvSpPr>
        <p:spPr>
          <a:xfrm>
            <a:off x="0" y="850392"/>
            <a:ext cx="12192000" cy="373063"/>
          </a:xfrm>
          <a:prstGeom prst="rect">
            <a:avLst/>
          </a:prstGeom>
        </p:spPr>
        <p:txBody>
          <a:bodyPr lIns="380851" tIns="53319" rIns="53319" bIns="53319">
            <a:noAutofit/>
          </a:bodyPr>
          <a:lstStyle>
            <a:lvl1pPr marL="0" indent="0">
              <a:buNone/>
              <a:defRPr sz="2800">
                <a:latin typeface="Segoe UI Light" pitchFamily="34" charset="0"/>
              </a:defRPr>
            </a:lvl1pPr>
            <a:lvl2pPr marL="281643" indent="0">
              <a:buNone/>
              <a:defRPr/>
            </a:lvl2pPr>
            <a:lvl3pPr marL="588411" indent="0">
              <a:buNone/>
              <a:defRPr/>
            </a:lvl3pPr>
            <a:lvl4pPr marL="870053" indent="0">
              <a:buNone/>
              <a:defRPr/>
            </a:lvl4pPr>
            <a:lvl5pPr marL="1105417" indent="0">
              <a:buNone/>
              <a:defRPr/>
            </a:lvl5pPr>
          </a:lstStyle>
          <a:p>
            <a:pPr lvl="0"/>
            <a:r>
              <a:rPr lang="en-US" dirty="0" smtClean="0"/>
              <a:t>Click to add subtitle</a:t>
            </a:r>
          </a:p>
        </p:txBody>
      </p:sp>
      <p:sp>
        <p:nvSpPr>
          <p:cNvPr id="16" name="Text Placeholder 15"/>
          <p:cNvSpPr>
            <a:spLocks noGrp="1"/>
          </p:cNvSpPr>
          <p:nvPr>
            <p:ph type="body" sz="quarter" idx="14"/>
            <p:custDataLst>
              <p:tags r:id="rId5"/>
            </p:custDataLst>
          </p:nvPr>
        </p:nvSpPr>
        <p:spPr>
          <a:xfrm>
            <a:off x="404813" y="1330325"/>
            <a:ext cx="11365992" cy="4918075"/>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Slide Number Placeholder 18"/>
          <p:cNvSpPr>
            <a:spLocks noGrp="1"/>
          </p:cNvSpPr>
          <p:nvPr>
            <p:ph type="sldNum" sz="quarter" idx="15"/>
            <p:custDataLst>
              <p:tags r:id="rId6"/>
            </p:custDataLst>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784174875"/>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79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6"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smtClean="0"/>
              <a:t>Title</a:t>
            </a:r>
            <a:endParaRPr lang="en-US" dirty="0"/>
          </a:p>
        </p:txBody>
      </p:sp>
      <p:sp>
        <p:nvSpPr>
          <p:cNvPr id="8"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3605743421"/>
      </p:ext>
    </p:extLst>
  </p:cSld>
  <p:clrMapOvr>
    <a:masterClrMapping/>
  </p:clrMapOvr>
  <p:transition spd="med">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58pt Title/16pt Text - Blue">
    <p:bg>
      <p:bgPr>
        <a:solidFill>
          <a:schemeClr val="accent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897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smtClean="0"/>
              <a:t>Title</a:t>
            </a:r>
            <a:endParaRPr lang="en-US" dirty="0"/>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1830125120"/>
      </p:ext>
    </p:extLst>
  </p:cSld>
  <p:clrMapOvr>
    <a:masterClrMapping/>
  </p:clrMapOvr>
  <p:transition spd="med">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8pt Title/16pt Text - Purple">
    <p:bg>
      <p:bgPr>
        <a:solidFill>
          <a:schemeClr val="accent3"/>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999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smtClean="0"/>
              <a:t>Title</a:t>
            </a:r>
            <a:endParaRPr lang="en-US" dirty="0"/>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767983612"/>
      </p:ext>
    </p:extLst>
  </p:cSld>
  <p:clrMapOvr>
    <a:masterClrMapping/>
  </p:clrMapOvr>
  <p:transition spd="med">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8pt Title/24pt Text - Orang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10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smtClean="0"/>
              <a:t>Title</a:t>
            </a:r>
            <a:endParaRPr lang="en-US" dirty="0"/>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434288047"/>
      </p:ext>
    </p:extLst>
  </p:cSld>
  <p:clrMapOvr>
    <a:masterClrMapping/>
  </p:clrMapOvr>
  <p:transition spd="med">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58pt Title/24pt Text - Orange">
    <p:bg>
      <p:bgPr>
        <a:solidFill>
          <a:schemeClr val="accent5"/>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04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smtClean="0"/>
              <a:t>Title</a:t>
            </a:r>
            <a:endParaRPr lang="en-US" dirty="0"/>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1970830596"/>
      </p:ext>
    </p:extLst>
  </p:cSld>
  <p:clrMapOvr>
    <a:masterClrMapping/>
  </p:clrMapOvr>
  <p:transition spd="med">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8pt Title/24pt Text - Gray">
    <p:bg>
      <p:bgPr>
        <a:solidFill>
          <a:schemeClr val="accent6"/>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306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Title 1"/>
          <p:cNvSpPr>
            <a:spLocks noGrp="1"/>
          </p:cNvSpPr>
          <p:nvPr>
            <p:ph type="ctrTitle" hasCustomPrompt="1"/>
          </p:nvPr>
        </p:nvSpPr>
        <p:spPr>
          <a:xfrm>
            <a:off x="573713" y="2100815"/>
            <a:ext cx="11007660" cy="1686801"/>
          </a:xfrm>
        </p:spPr>
        <p:txBody>
          <a:bodyPr/>
          <a:lstStyle>
            <a:lvl1pPr>
              <a:defRPr sz="5882">
                <a:solidFill>
                  <a:schemeClr val="bg1"/>
                </a:solidFill>
              </a:defRPr>
            </a:lvl1pPr>
          </a:lstStyle>
          <a:p>
            <a:r>
              <a:rPr lang="en-US" dirty="0" smtClean="0"/>
              <a:t>Title</a:t>
            </a:r>
            <a:endParaRPr lang="en-US" dirty="0"/>
          </a:p>
        </p:txBody>
      </p:sp>
      <p:sp>
        <p:nvSpPr>
          <p:cNvPr id="10" name="Subtitle 2"/>
          <p:cNvSpPr>
            <a:spLocks noGrp="1"/>
          </p:cNvSpPr>
          <p:nvPr>
            <p:ph type="subTitle" idx="1" hasCustomPrompt="1"/>
          </p:nvPr>
        </p:nvSpPr>
        <p:spPr>
          <a:xfrm>
            <a:off x="591640" y="3877277"/>
            <a:ext cx="10989732" cy="1034782"/>
          </a:xfrm>
        </p:spPr>
        <p:txBody>
          <a:bodyPr/>
          <a:lstStyle>
            <a:lvl1pPr marL="0" indent="0" algn="l">
              <a:buNone/>
              <a:defRPr sz="2157">
                <a:solidFill>
                  <a:schemeClr val="bg1"/>
                </a:solidFill>
                <a:latin typeface="+mn-lt"/>
              </a:defRPr>
            </a:lvl1pPr>
            <a:lvl2pPr marL="448193" indent="0" algn="ctr">
              <a:buNone/>
              <a:defRPr>
                <a:solidFill>
                  <a:schemeClr val="tx1">
                    <a:tint val="75000"/>
                  </a:schemeClr>
                </a:solidFill>
              </a:defRPr>
            </a:lvl2pPr>
            <a:lvl3pPr marL="896386" indent="0" algn="ctr">
              <a:buNone/>
              <a:defRPr>
                <a:solidFill>
                  <a:schemeClr val="tx1">
                    <a:tint val="75000"/>
                  </a:schemeClr>
                </a:solidFill>
              </a:defRPr>
            </a:lvl3pPr>
            <a:lvl4pPr marL="1344579" indent="0" algn="ctr">
              <a:buNone/>
              <a:defRPr>
                <a:solidFill>
                  <a:schemeClr val="tx1">
                    <a:tint val="75000"/>
                  </a:schemeClr>
                </a:solidFill>
              </a:defRPr>
            </a:lvl4pPr>
            <a:lvl5pPr marL="1792773" indent="0" algn="ctr">
              <a:buNone/>
              <a:defRPr>
                <a:solidFill>
                  <a:schemeClr val="tx1">
                    <a:tint val="75000"/>
                  </a:schemeClr>
                </a:solidFill>
              </a:defRPr>
            </a:lvl5pPr>
            <a:lvl6pPr marL="2240966" indent="0" algn="ctr">
              <a:buNone/>
              <a:defRPr>
                <a:solidFill>
                  <a:schemeClr val="tx1">
                    <a:tint val="75000"/>
                  </a:schemeClr>
                </a:solidFill>
              </a:defRPr>
            </a:lvl6pPr>
            <a:lvl7pPr marL="2689159" indent="0" algn="ctr">
              <a:buNone/>
              <a:defRPr>
                <a:solidFill>
                  <a:schemeClr val="tx1">
                    <a:tint val="75000"/>
                  </a:schemeClr>
                </a:solidFill>
              </a:defRPr>
            </a:lvl7pPr>
            <a:lvl8pPr marL="3137352" indent="0" algn="ctr">
              <a:buNone/>
              <a:defRPr>
                <a:solidFill>
                  <a:schemeClr val="tx1">
                    <a:tint val="75000"/>
                  </a:schemeClr>
                </a:solidFill>
              </a:defRPr>
            </a:lvl8pPr>
            <a:lvl9pPr marL="3585545" indent="0" algn="ctr">
              <a:buNone/>
              <a:defRPr>
                <a:solidFill>
                  <a:schemeClr val="tx1">
                    <a:tint val="75000"/>
                  </a:schemeClr>
                </a:solidFill>
              </a:defRPr>
            </a:lvl9pPr>
          </a:lstStyle>
          <a:p>
            <a:r>
              <a:rPr lang="en-US" dirty="0" smtClean="0"/>
              <a:t>Subtitle</a:t>
            </a:r>
          </a:p>
        </p:txBody>
      </p:sp>
    </p:spTree>
    <p:extLst>
      <p:ext uri="{BB962C8B-B14F-4D97-AF65-F5344CB8AC3E}">
        <p14:creationId xmlns:p14="http://schemas.microsoft.com/office/powerpoint/2010/main" val="3163956903"/>
      </p:ext>
    </p:extLst>
  </p:cSld>
  <p:clrMapOvr>
    <a:masterClrMapping/>
  </p:clrMapOvr>
  <p:transition spd="med">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409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417230" y="259792"/>
            <a:ext cx="11161995" cy="1075884"/>
          </a:xfrm>
        </p:spPr>
        <p:txBody>
          <a:bodyPr lIns="0" tIns="91440" rIns="146304" bIns="91440"/>
          <a:lstStyle>
            <a:lvl1pPr>
              <a:lnSpc>
                <a:spcPts val="4803"/>
              </a:lnSpc>
              <a:defRPr sz="4313" baseline="0">
                <a:solidFill>
                  <a:schemeClr val="accent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7"/>
          <p:cNvSpPr>
            <a:spLocks noGrp="1"/>
          </p:cNvSpPr>
          <p:nvPr>
            <p:ph type="body" sz="quarter" idx="13" hasCustomPrompt="1"/>
          </p:nvPr>
        </p:nvSpPr>
        <p:spPr>
          <a:xfrm>
            <a:off x="435158" y="1515299"/>
            <a:ext cx="11161996" cy="4572050"/>
          </a:xfrm>
        </p:spPr>
        <p:txBody>
          <a:bodyPr lIns="0" tIns="0"/>
          <a:lstStyle>
            <a:lvl1pPr marL="228766" indent="-228766">
              <a:spcBef>
                <a:spcPts val="1176"/>
              </a:spcBef>
              <a:defRPr sz="2549">
                <a:latin typeface="+mn-lt"/>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lvl="0"/>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cing</a:t>
            </a:r>
            <a:r>
              <a:rPr lang="en-US" dirty="0" smtClean="0"/>
              <a:t> </a:t>
            </a:r>
            <a:br>
              <a:rPr lang="en-US" dirty="0" smtClean="0"/>
            </a:br>
            <a:r>
              <a:rPr lang="en-US" dirty="0" err="1" smtClean="0"/>
              <a:t>elit</a:t>
            </a:r>
            <a:r>
              <a:rPr lang="en-US" dirty="0" smtClean="0"/>
              <a:t>. </a:t>
            </a:r>
            <a:r>
              <a:rPr lang="en-US" dirty="0" err="1" smtClean="0"/>
              <a:t>Nunc</a:t>
            </a:r>
            <a:r>
              <a:rPr lang="en-US" dirty="0" smtClean="0"/>
              <a:t> et </a:t>
            </a:r>
            <a:r>
              <a:rPr lang="en-US" dirty="0" err="1" smtClean="0"/>
              <a:t>sagittis</a:t>
            </a:r>
            <a:r>
              <a:rPr lang="en-US" dirty="0" smtClean="0"/>
              <a:t> ligula</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72041381"/>
      </p:ext>
    </p:extLst>
  </p:cSld>
  <p:clrMapOvr>
    <a:masterClrMapping/>
  </p:clrMapOvr>
  <p:transition spd="med">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511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dirty="0" smtClean="0">
                <a:solidFill>
                  <a:srgbClr val="505050"/>
                </a:solidFill>
              </a:rPr>
              <a:t>Microsoft Confidential</a:t>
            </a:r>
            <a:endParaRPr dirty="0">
              <a:solidFill>
                <a:srgbClr val="505050"/>
              </a:solidFill>
            </a:endParaRPr>
          </a:p>
        </p:txBody>
      </p:sp>
      <p:sp>
        <p:nvSpPr>
          <p:cNvPr id="4" name="Slide Number Placeholder 3"/>
          <p:cNvSpPr>
            <a:spLocks noGrp="1"/>
          </p:cNvSpPr>
          <p:nvPr>
            <p:ph type="sldNum" sz="quarter" idx="11"/>
          </p:nvPr>
        </p:nvSpPr>
        <p:spPr/>
        <p:txBody>
          <a:bodyPr/>
          <a:lstStyle/>
          <a:p>
            <a:fld id="{27258FFF-F925-446B-8502-81C933981705}" type="slidenum">
              <a:rPr>
                <a:solidFill>
                  <a:srgbClr val="505050"/>
                </a:solidFill>
              </a:rPr>
              <a:pPr/>
              <a:t>‹#›</a:t>
            </a:fld>
            <a:endParaRPr dirty="0">
              <a:solidFill>
                <a:srgbClr val="505050"/>
              </a:solidFill>
            </a:endParaRPr>
          </a:p>
        </p:txBody>
      </p:sp>
      <p:sp>
        <p:nvSpPr>
          <p:cNvPr id="7" name="Title 1"/>
          <p:cNvSpPr>
            <a:spLocks noGrp="1"/>
          </p:cNvSpPr>
          <p:nvPr>
            <p:ph type="title" hasCustomPrompt="1"/>
          </p:nvPr>
        </p:nvSpPr>
        <p:spPr>
          <a:xfrm>
            <a:off x="417752" y="259792"/>
            <a:ext cx="11161472" cy="1075884"/>
          </a:xfrm>
        </p:spPr>
        <p:txBody>
          <a:bodyPr lIns="0" tIns="91440" rIns="146304" bIns="91440"/>
          <a:lstStyle>
            <a:lvl1pPr>
              <a:lnSpc>
                <a:spcPts val="4803"/>
              </a:lnSpc>
              <a:defRPr sz="4313" baseline="0">
                <a:solidFill>
                  <a:schemeClr val="accent1"/>
                </a:solidFill>
              </a:defRPr>
            </a:lvl1pPr>
          </a:lstStyle>
          <a:p>
            <a:r>
              <a:rPr lang="en-US" dirty="0" err="1" smtClean="0"/>
              <a:t>Lorem</a:t>
            </a:r>
            <a:r>
              <a:rPr lang="en-US" dirty="0" smtClean="0"/>
              <a:t> </a:t>
            </a:r>
            <a:r>
              <a:rPr lang="en-US" dirty="0" err="1" smtClean="0"/>
              <a:t>ipsum</a:t>
            </a:r>
            <a:r>
              <a:rPr lang="en-US" dirty="0" smtClean="0"/>
              <a:t> dolor sit.</a:t>
            </a:r>
            <a:endParaRPr lang="en-US" dirty="0"/>
          </a:p>
        </p:txBody>
      </p:sp>
    </p:spTree>
    <p:extLst>
      <p:ext uri="{BB962C8B-B14F-4D97-AF65-F5344CB8AC3E}">
        <p14:creationId xmlns:p14="http://schemas.microsoft.com/office/powerpoint/2010/main" val="3430352619"/>
      </p:ext>
    </p:extLst>
  </p:cSld>
  <p:clrMapOvr>
    <a:masterClrMapping/>
  </p:clrMapOvr>
  <p:transition spd="med">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0"/>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5904" name="think-cell Slide" r:id="rId21" imgW="270" imgH="270" progId="TCLayout.ActiveDocument.1">
                  <p:embed/>
                </p:oleObj>
              </mc:Choice>
              <mc:Fallback>
                <p:oleObj name="think-cell Slide" r:id="rId21" imgW="270" imgH="270" progId="TCLayout.ActiveDocument.1">
                  <p:embed/>
                  <p:pic>
                    <p:nvPicPr>
                      <p:cNvPr id="0" name=""/>
                      <p:cNvPicPr/>
                      <p:nvPr/>
                    </p:nvPicPr>
                    <p:blipFill>
                      <a:blip r:embed="rId22"/>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417198" y="289511"/>
            <a:ext cx="11206138" cy="899665"/>
          </a:xfrm>
          <a:prstGeom prst="rect">
            <a:avLst/>
          </a:prstGeom>
        </p:spPr>
        <p:txBody>
          <a:bodyPr vert="horz" wrap="square" lIns="0"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435158" y="1189178"/>
            <a:ext cx="11203907" cy="2052030"/>
          </a:xfrm>
          <a:prstGeom prst="rect">
            <a:avLst/>
          </a:prstGeom>
        </p:spPr>
        <p:txBody>
          <a:bodyPr vert="horz" wrap="square" lIns="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Footer Placeholder 2"/>
          <p:cNvSpPr>
            <a:spLocks noGrp="1"/>
          </p:cNvSpPr>
          <p:nvPr>
            <p:ph type="ftr" sz="quarter" idx="3"/>
          </p:nvPr>
        </p:nvSpPr>
        <p:spPr>
          <a:xfrm>
            <a:off x="269240" y="6437243"/>
            <a:ext cx="3859607" cy="134483"/>
          </a:xfrm>
          <a:prstGeom prst="rect">
            <a:avLst/>
          </a:prstGeom>
        </p:spPr>
        <p:txBody>
          <a:bodyPr vert="horz" lIns="0" tIns="0" rIns="91440" bIns="0" rtlCol="0" anchor="ctr"/>
          <a:lstStyle>
            <a:lvl1pPr marL="0" algn="l" defTabSz="914367" rtl="0" eaLnBrk="1" latinLnBrk="0" hangingPunct="1">
              <a:defRPr lang="en-US" sz="882" kern="1200">
                <a:solidFill>
                  <a:schemeClr val="tx2"/>
                </a:solidFill>
                <a:latin typeface="+mn-lt"/>
                <a:ea typeface="+mn-ea"/>
                <a:cs typeface="+mn-cs"/>
              </a:defRPr>
            </a:lvl1pPr>
          </a:lstStyle>
          <a:p>
            <a:r>
              <a:rPr dirty="0" smtClean="0">
                <a:solidFill>
                  <a:srgbClr val="505050"/>
                </a:solidFill>
              </a:rPr>
              <a:t>Microsoft Confidential</a:t>
            </a:r>
            <a:endParaRPr dirty="0">
              <a:solidFill>
                <a:srgbClr val="505050"/>
              </a:solidFill>
            </a:endParaRPr>
          </a:p>
        </p:txBody>
      </p:sp>
      <p:sp>
        <p:nvSpPr>
          <p:cNvPr id="5" name="Slide Number Placeholder 4"/>
          <p:cNvSpPr>
            <a:spLocks noGrp="1"/>
          </p:cNvSpPr>
          <p:nvPr>
            <p:ph type="sldNum" sz="quarter" idx="4"/>
          </p:nvPr>
        </p:nvSpPr>
        <p:spPr>
          <a:xfrm>
            <a:off x="11367166" y="6437243"/>
            <a:ext cx="555596" cy="134483"/>
          </a:xfrm>
          <a:prstGeom prst="rect">
            <a:avLst/>
          </a:prstGeom>
        </p:spPr>
        <p:txBody>
          <a:bodyPr vert="horz" lIns="91440" tIns="0" rIns="0" bIns="0" rtlCol="0" anchor="ctr"/>
          <a:lstStyle>
            <a:lvl1pPr algn="r">
              <a:defRPr lang="en-US" sz="882" b="0" kern="1200" smtClean="0">
                <a:solidFill>
                  <a:schemeClr val="tx2"/>
                </a:solidFill>
                <a:latin typeface="+mn-lt"/>
                <a:ea typeface="+mn-ea"/>
                <a:cs typeface="+mn-cs"/>
              </a:defRPr>
            </a:lvl1pPr>
          </a:lstStyle>
          <a:p>
            <a:pPr defTabSz="914367"/>
            <a:fld id="{27258FFF-F925-446B-8502-81C933981705}" type="slidenum">
              <a:rPr lang="en-US" smtClean="0">
                <a:solidFill>
                  <a:srgbClr val="505050"/>
                </a:solidFill>
              </a:rPr>
              <a:pPr defTabSz="914367"/>
              <a:t>‹#›</a:t>
            </a:fld>
            <a:endParaRPr lang="en-US" dirty="0">
              <a:solidFill>
                <a:srgbClr val="505050"/>
              </a:solidFill>
            </a:endParaRPr>
          </a:p>
        </p:txBody>
      </p:sp>
    </p:spTree>
    <p:extLst>
      <p:ext uri="{BB962C8B-B14F-4D97-AF65-F5344CB8AC3E}">
        <p14:creationId xmlns:p14="http://schemas.microsoft.com/office/powerpoint/2010/main" val="558861910"/>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 id="2147483753" r:id="rId13"/>
    <p:sldLayoutId id="2147483754" r:id="rId14"/>
    <p:sldLayoutId id="2147483755" r:id="rId15"/>
    <p:sldLayoutId id="2147483762" r:id="rId16"/>
    <p:sldLayoutId id="2147483763" r:id="rId17"/>
  </p:sldLayoutIdLst>
  <p:transition spd="med">
    <p:fade/>
  </p:transition>
  <p:timing>
    <p:tnLst>
      <p:par>
        <p:cTn id="1" dur="indefinite" restart="never" nodeType="tmRoot"/>
      </p:par>
    </p:tnLst>
  </p:timing>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2"/>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2"/>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2"/>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2"/>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2"/>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9.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1.xml"/><Relationship Id="rId1" Type="http://schemas.openxmlformats.org/officeDocument/2006/relationships/slideLayout" Target="../slideLayouts/slideLayout9.xml"/><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5.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3.wdp"/><Relationship Id="rId3" Type="http://schemas.openxmlformats.org/officeDocument/2006/relationships/slideLayout" Target="../slideLayouts/slideLayout9.xml"/><Relationship Id="rId7" Type="http://schemas.openxmlformats.org/officeDocument/2006/relationships/image" Target="../media/image8.png"/><Relationship Id="rId12" Type="http://schemas.openxmlformats.org/officeDocument/2006/relationships/image" Target="../media/image11.png"/><Relationship Id="rId2" Type="http://schemas.openxmlformats.org/officeDocument/2006/relationships/tags" Target="../tags/tag26.xml"/><Relationship Id="rId1" Type="http://schemas.openxmlformats.org/officeDocument/2006/relationships/vmlDrawing" Target="../drawings/vmlDrawing18.vml"/><Relationship Id="rId6" Type="http://schemas.openxmlformats.org/officeDocument/2006/relationships/image" Target="../media/image1.emf"/><Relationship Id="rId11" Type="http://schemas.microsoft.com/office/2007/relationships/hdphoto" Target="../media/hdphoto2.wdp"/><Relationship Id="rId5" Type="http://schemas.openxmlformats.org/officeDocument/2006/relationships/oleObject" Target="../embeddings/oleObject18.bin"/><Relationship Id="rId10" Type="http://schemas.openxmlformats.org/officeDocument/2006/relationships/image" Target="../media/image10.png"/><Relationship Id="rId4" Type="http://schemas.openxmlformats.org/officeDocument/2006/relationships/notesSlide" Target="../notesSlides/notesSlide5.xml"/><Relationship Id="rId9" Type="http://schemas.microsoft.com/office/2007/relationships/hdphoto" Target="../media/hdphoto1.wdp"/></Relationships>
</file>

<file path=ppt/slides/_rels/slide6.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hdphoto" Target="../media/hdphoto3.wdp"/><Relationship Id="rId3" Type="http://schemas.openxmlformats.org/officeDocument/2006/relationships/slideLayout" Target="../slideLayouts/slideLayout9.xml"/><Relationship Id="rId7" Type="http://schemas.openxmlformats.org/officeDocument/2006/relationships/image" Target="../media/image1.emf"/><Relationship Id="rId12" Type="http://schemas.openxmlformats.org/officeDocument/2006/relationships/image" Target="../media/image11.png"/><Relationship Id="rId2" Type="http://schemas.openxmlformats.org/officeDocument/2006/relationships/tags" Target="../tags/tag27.xml"/><Relationship Id="rId1" Type="http://schemas.openxmlformats.org/officeDocument/2006/relationships/vmlDrawing" Target="../drawings/vmlDrawing19.vml"/><Relationship Id="rId6" Type="http://schemas.openxmlformats.org/officeDocument/2006/relationships/oleObject" Target="../embeddings/oleObject19.bin"/><Relationship Id="rId11" Type="http://schemas.microsoft.com/office/2007/relationships/hdphoto" Target="../media/hdphoto2.wdp"/><Relationship Id="rId5" Type="http://schemas.openxmlformats.org/officeDocument/2006/relationships/image" Target="../media/image8.png"/><Relationship Id="rId10" Type="http://schemas.openxmlformats.org/officeDocument/2006/relationships/image" Target="../media/image10.png"/><Relationship Id="rId4" Type="http://schemas.openxmlformats.org/officeDocument/2006/relationships/notesSlide" Target="../notesSlides/notesSlide6.xml"/><Relationship Id="rId9" Type="http://schemas.microsoft.com/office/2007/relationships/hdphoto" Target="../media/hdphoto1.wdp"/></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9.xml"/><Relationship Id="rId1" Type="http://schemas.openxmlformats.org/officeDocument/2006/relationships/tags" Target="../tags/tag28.xml"/><Relationship Id="rId4" Type="http://schemas.openxmlformats.org/officeDocument/2006/relationships/image" Target="../media/image1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IN" dirty="0" smtClean="0"/>
              <a:t>Module </a:t>
            </a:r>
            <a:r>
              <a:rPr lang="en-IN" dirty="0" smtClean="0"/>
              <a:t>5:</a:t>
            </a:r>
            <a:r>
              <a:rPr lang="en-IN" dirty="0" smtClean="0"/>
              <a:t/>
            </a:r>
            <a:br>
              <a:rPr lang="en-IN" dirty="0" smtClean="0"/>
            </a:br>
            <a:r>
              <a:rPr lang="en-IN" dirty="0" smtClean="0"/>
              <a:t>Microsoft Azure </a:t>
            </a:r>
            <a:r>
              <a:rPr lang="en-IN" dirty="0" smtClean="0"/>
              <a:t>pricing</a:t>
            </a:r>
            <a:endParaRPr lang="en-IN" dirty="0"/>
          </a:p>
        </p:txBody>
      </p:sp>
    </p:spTree>
    <p:extLst>
      <p:ext uri="{BB962C8B-B14F-4D97-AF65-F5344CB8AC3E}">
        <p14:creationId xmlns:p14="http://schemas.microsoft.com/office/powerpoint/2010/main" val="3931895545"/>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nvPr>
        </p:nvGraphicFramePr>
        <p:xfrm>
          <a:off x="2422" y="2530"/>
          <a:ext cx="1556" cy="1556"/>
        </p:xfrm>
        <a:graphic>
          <a:graphicData uri="http://schemas.openxmlformats.org/presentationml/2006/ole">
            <mc:AlternateContent xmlns:mc="http://schemas.openxmlformats.org/markup-compatibility/2006">
              <mc:Choice xmlns:v="urn:schemas-microsoft-com:vml" Requires="v">
                <p:oleObj spid="_x0000_s11985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422" y="2530"/>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smtClean="0"/>
              <a:t>Azure Use Rights</a:t>
            </a:r>
            <a:endParaRPr lang="en-US" dirty="0"/>
          </a:p>
        </p:txBody>
      </p:sp>
      <p:sp>
        <p:nvSpPr>
          <p:cNvPr id="2" name="Rectangle 1"/>
          <p:cNvSpPr/>
          <p:nvPr/>
        </p:nvSpPr>
        <p:spPr bwMode="auto">
          <a:xfrm>
            <a:off x="270069" y="1993990"/>
            <a:ext cx="2209486" cy="9565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Internal </a:t>
            </a:r>
            <a:r>
              <a:rPr lang="en-US" sz="2000" dirty="0" smtClean="0">
                <a:gradFill>
                  <a:gsLst>
                    <a:gs pos="0">
                      <a:srgbClr val="FFFFFF"/>
                    </a:gs>
                    <a:gs pos="100000">
                      <a:srgbClr val="FFFFFF"/>
                    </a:gs>
                  </a:gsLst>
                  <a:lin ang="5400000" scaled="0"/>
                </a:gradFill>
                <a:ea typeface="Segoe UI" pitchFamily="34" charset="0"/>
                <a:cs typeface="Segoe UI" pitchFamily="34" charset="0"/>
              </a:rPr>
              <a:t>use</a:t>
            </a:r>
            <a:endParaRPr lang="en-US" sz="2000" dirty="0">
              <a:gradFill>
                <a:gsLst>
                  <a:gs pos="0">
                    <a:srgbClr val="FFFFFF"/>
                  </a:gs>
                  <a:gs pos="100000">
                    <a:srgbClr val="FFFFFF"/>
                  </a:gs>
                </a:gsLst>
                <a:lin ang="5400000" scaled="0"/>
              </a:gradFill>
              <a:ea typeface="Segoe UI" pitchFamily="34" charset="0"/>
              <a:cs typeface="Segoe UI" pitchFamily="34" charset="0"/>
            </a:endParaRPr>
          </a:p>
        </p:txBody>
      </p:sp>
      <p:sp>
        <p:nvSpPr>
          <p:cNvPr id="91" name="Rectangle 90"/>
          <p:cNvSpPr/>
          <p:nvPr/>
        </p:nvSpPr>
        <p:spPr bwMode="auto">
          <a:xfrm>
            <a:off x="2630240" y="1993990"/>
            <a:ext cx="2209486" cy="9565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2000" dirty="0" smtClean="0">
                <a:gradFill>
                  <a:gsLst>
                    <a:gs pos="0">
                      <a:srgbClr val="FFFFFF"/>
                    </a:gs>
                    <a:gs pos="100000">
                      <a:srgbClr val="FFFFFF"/>
                    </a:gs>
                  </a:gsLst>
                  <a:lin ang="5400000" scaled="0"/>
                </a:gradFill>
                <a:ea typeface="Segoe UI" pitchFamily="34" charset="0"/>
                <a:cs typeface="Segoe UI" pitchFamily="34" charset="0"/>
              </a:rPr>
              <a:t>Self-hosted </a:t>
            </a:r>
            <a:r>
              <a:rPr lang="en-US" sz="2000" dirty="0">
                <a:gradFill>
                  <a:gsLst>
                    <a:gs pos="0">
                      <a:srgbClr val="FFFFFF"/>
                    </a:gs>
                    <a:gs pos="100000">
                      <a:srgbClr val="FFFFFF"/>
                    </a:gs>
                  </a:gsLst>
                  <a:lin ang="5400000" scaled="0"/>
                </a:gradFill>
                <a:ea typeface="Segoe UI" pitchFamily="34" charset="0"/>
                <a:cs typeface="Segoe UI" pitchFamily="34" charset="0"/>
              </a:rPr>
              <a:t>ISV</a:t>
            </a:r>
          </a:p>
        </p:txBody>
      </p:sp>
      <p:sp>
        <p:nvSpPr>
          <p:cNvPr id="92" name="Rectangle 91"/>
          <p:cNvSpPr/>
          <p:nvPr/>
        </p:nvSpPr>
        <p:spPr bwMode="auto">
          <a:xfrm>
            <a:off x="4990413" y="1993990"/>
            <a:ext cx="2209486" cy="9565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anaged Services</a:t>
            </a:r>
          </a:p>
        </p:txBody>
      </p:sp>
      <p:sp>
        <p:nvSpPr>
          <p:cNvPr id="93" name="Rectangle 92"/>
          <p:cNvSpPr/>
          <p:nvPr/>
        </p:nvSpPr>
        <p:spPr bwMode="auto">
          <a:xfrm>
            <a:off x="7350585" y="1993990"/>
            <a:ext cx="2209486" cy="9565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Managed IT</a:t>
            </a:r>
          </a:p>
        </p:txBody>
      </p:sp>
      <p:sp>
        <p:nvSpPr>
          <p:cNvPr id="94" name="Rectangle 93"/>
          <p:cNvSpPr/>
          <p:nvPr/>
        </p:nvSpPr>
        <p:spPr bwMode="auto">
          <a:xfrm>
            <a:off x="9710756" y="1993990"/>
            <a:ext cx="2209486" cy="95659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2000" dirty="0">
                <a:gradFill>
                  <a:gsLst>
                    <a:gs pos="0">
                      <a:srgbClr val="FFFFFF"/>
                    </a:gs>
                    <a:gs pos="100000">
                      <a:srgbClr val="FFFFFF"/>
                    </a:gs>
                  </a:gsLst>
                  <a:lin ang="5400000" scaled="0"/>
                </a:gradFill>
                <a:ea typeface="Segoe UI" pitchFamily="34" charset="0"/>
                <a:cs typeface="Segoe UI" pitchFamily="34" charset="0"/>
              </a:rPr>
              <a:t>Resale</a:t>
            </a:r>
          </a:p>
        </p:txBody>
      </p:sp>
      <p:sp>
        <p:nvSpPr>
          <p:cNvPr id="6" name="TextBox 5"/>
          <p:cNvSpPr txBox="1"/>
          <p:nvPr/>
        </p:nvSpPr>
        <p:spPr>
          <a:xfrm>
            <a:off x="270069" y="3043701"/>
            <a:ext cx="2209486" cy="1481734"/>
          </a:xfrm>
          <a:prstGeom prst="rect">
            <a:avLst/>
          </a:prstGeom>
          <a:noFill/>
        </p:spPr>
        <p:txBody>
          <a:bodyPr wrap="square" lIns="182854" tIns="146284" rIns="182854" bIns="146284" rtlCol="0">
            <a:spAutoFit/>
          </a:bodyPr>
          <a:lstStyle/>
          <a:p>
            <a:pPr>
              <a:lnSpc>
                <a:spcPct val="90000"/>
              </a:lnSpc>
              <a:spcAft>
                <a:spcPts val="600"/>
              </a:spcAft>
            </a:pPr>
            <a:r>
              <a:rPr lang="en-US" sz="1400" dirty="0">
                <a:gradFill>
                  <a:gsLst>
                    <a:gs pos="2917">
                      <a:srgbClr val="000000"/>
                    </a:gs>
                    <a:gs pos="30000">
                      <a:srgbClr val="000000"/>
                    </a:gs>
                  </a:gsLst>
                  <a:lin ang="5400000" scaled="0"/>
                </a:gradFill>
              </a:rPr>
              <a:t>Microsoft Azure services are deployed for and consumed by a single entity’s employees and affiliates</a:t>
            </a:r>
          </a:p>
        </p:txBody>
      </p:sp>
      <p:sp>
        <p:nvSpPr>
          <p:cNvPr id="110" name="TextBox 109"/>
          <p:cNvSpPr txBox="1"/>
          <p:nvPr/>
        </p:nvSpPr>
        <p:spPr>
          <a:xfrm>
            <a:off x="2630240" y="3043701"/>
            <a:ext cx="2209486" cy="2040518"/>
          </a:xfrm>
          <a:prstGeom prst="rect">
            <a:avLst/>
          </a:prstGeom>
          <a:noFill/>
        </p:spPr>
        <p:txBody>
          <a:bodyPr wrap="square" lIns="182854" tIns="146284" rIns="182854" bIns="146284" rtlCol="0">
            <a:spAutoFit/>
          </a:bodyPr>
          <a:lstStyle/>
          <a:p>
            <a:pPr>
              <a:lnSpc>
                <a:spcPct val="90000"/>
              </a:lnSpc>
              <a:spcAft>
                <a:spcPts val="600"/>
              </a:spcAft>
            </a:pPr>
            <a:r>
              <a:rPr lang="en-US" sz="1400" dirty="0">
                <a:gradFill>
                  <a:gsLst>
                    <a:gs pos="2917">
                      <a:srgbClr val="000000"/>
                    </a:gs>
                    <a:gs pos="30000">
                      <a:srgbClr val="000000"/>
                    </a:gs>
                  </a:gsLst>
                  <a:lin ang="5400000" scaled="0"/>
                </a:gradFill>
              </a:rPr>
              <a:t>The Microsoft Azure platform is used to support the </a:t>
            </a:r>
            <a:r>
              <a:rPr lang="en-US" sz="1400" dirty="0" smtClean="0">
                <a:gradFill>
                  <a:gsLst>
                    <a:gs pos="2917">
                      <a:srgbClr val="000000"/>
                    </a:gs>
                    <a:gs pos="30000">
                      <a:srgbClr val="000000"/>
                    </a:gs>
                  </a:gsLst>
                  <a:lin ang="5400000" scaled="0"/>
                </a:gradFill>
              </a:rPr>
              <a:t>deployment </a:t>
            </a:r>
            <a:r>
              <a:rPr lang="en-US" sz="1400" dirty="0">
                <a:gradFill>
                  <a:gsLst>
                    <a:gs pos="2917">
                      <a:srgbClr val="000000"/>
                    </a:gs>
                    <a:gs pos="30000">
                      <a:srgbClr val="000000"/>
                    </a:gs>
                  </a:gsLst>
                  <a:lin ang="5400000" scaled="0"/>
                </a:gradFill>
              </a:rPr>
              <a:t>of an ISV application or service that is made available to </a:t>
            </a:r>
            <a:r>
              <a:rPr lang="en-US" sz="1400" dirty="0" smtClean="0">
                <a:gradFill>
                  <a:gsLst>
                    <a:gs pos="2917">
                      <a:srgbClr val="000000"/>
                    </a:gs>
                    <a:gs pos="30000">
                      <a:srgbClr val="000000"/>
                    </a:gs>
                  </a:gsLst>
                  <a:lin ang="5400000" scaled="0"/>
                </a:gradFill>
              </a:rPr>
              <a:t>external </a:t>
            </a:r>
            <a:r>
              <a:rPr lang="en-US" sz="1400" dirty="0">
                <a:gradFill>
                  <a:gsLst>
                    <a:gs pos="2917">
                      <a:srgbClr val="000000"/>
                    </a:gs>
                    <a:gs pos="30000">
                      <a:srgbClr val="000000"/>
                    </a:gs>
                  </a:gsLst>
                  <a:lin ang="5400000" scaled="0"/>
                </a:gradFill>
              </a:rPr>
              <a:t>entities, customers, partners etc.</a:t>
            </a:r>
          </a:p>
        </p:txBody>
      </p:sp>
      <p:sp>
        <p:nvSpPr>
          <p:cNvPr id="111" name="TextBox 110"/>
          <p:cNvSpPr txBox="1"/>
          <p:nvPr/>
        </p:nvSpPr>
        <p:spPr>
          <a:xfrm>
            <a:off x="4990413" y="3043702"/>
            <a:ext cx="2209486" cy="2470326"/>
          </a:xfrm>
          <a:prstGeom prst="rect">
            <a:avLst/>
          </a:prstGeom>
          <a:noFill/>
        </p:spPr>
        <p:txBody>
          <a:bodyPr wrap="square" lIns="182854" tIns="146284" rIns="182854" bIns="146284" rtlCol="0">
            <a:spAutoFit/>
          </a:bodyPr>
          <a:lstStyle/>
          <a:p>
            <a:pPr>
              <a:lnSpc>
                <a:spcPct val="90000"/>
              </a:lnSpc>
              <a:spcAft>
                <a:spcPts val="600"/>
              </a:spcAft>
            </a:pPr>
            <a:r>
              <a:rPr lang="en-US" sz="1400" dirty="0">
                <a:gradFill>
                  <a:gsLst>
                    <a:gs pos="2917">
                      <a:srgbClr val="000000"/>
                    </a:gs>
                    <a:gs pos="30000">
                      <a:srgbClr val="000000"/>
                    </a:gs>
                  </a:gsLst>
                  <a:lin ang="5400000" scaled="0"/>
                </a:gradFill>
              </a:rPr>
              <a:t>Managed Service Providers (MSP) leverage Azure services to support an application or service that runs on top of the Microsoft Azure platform and provides primary </a:t>
            </a:r>
            <a:r>
              <a:rPr lang="en-US" sz="1400" dirty="0" smtClean="0">
                <a:gradFill>
                  <a:gsLst>
                    <a:gs pos="2917">
                      <a:srgbClr val="000000"/>
                    </a:gs>
                    <a:gs pos="30000">
                      <a:srgbClr val="000000"/>
                    </a:gs>
                  </a:gsLst>
                  <a:lin ang="5400000" scaled="0"/>
                </a:gradFill>
              </a:rPr>
              <a:t>and </a:t>
            </a:r>
            <a:r>
              <a:rPr lang="en-US" sz="1400" dirty="0">
                <a:gradFill>
                  <a:gsLst>
                    <a:gs pos="2917">
                      <a:srgbClr val="000000"/>
                    </a:gs>
                    <a:gs pos="30000">
                      <a:srgbClr val="000000"/>
                    </a:gs>
                  </a:gsLst>
                  <a:lin ang="5400000" scaled="0"/>
                </a:gradFill>
              </a:rPr>
              <a:t>significant value above and beyond Azure itself</a:t>
            </a:r>
          </a:p>
        </p:txBody>
      </p:sp>
      <p:sp>
        <p:nvSpPr>
          <p:cNvPr id="112" name="TextBox 111"/>
          <p:cNvSpPr txBox="1"/>
          <p:nvPr/>
        </p:nvSpPr>
        <p:spPr>
          <a:xfrm>
            <a:off x="7350585" y="3043701"/>
            <a:ext cx="2209486" cy="1877171"/>
          </a:xfrm>
          <a:prstGeom prst="rect">
            <a:avLst/>
          </a:prstGeom>
          <a:noFill/>
        </p:spPr>
        <p:txBody>
          <a:bodyPr wrap="square" lIns="182854" tIns="146284" rIns="182854" bIns="146284" rtlCol="0">
            <a:spAutoFit/>
          </a:bodyPr>
          <a:lstStyle/>
          <a:p>
            <a:pPr>
              <a:lnSpc>
                <a:spcPct val="90000"/>
              </a:lnSpc>
              <a:spcAft>
                <a:spcPts val="600"/>
              </a:spcAft>
            </a:pPr>
            <a:r>
              <a:rPr lang="en-US" sz="1400" dirty="0">
                <a:gradFill>
                  <a:gsLst>
                    <a:gs pos="2917">
                      <a:srgbClr val="000000"/>
                    </a:gs>
                    <a:gs pos="30000">
                      <a:srgbClr val="000000"/>
                    </a:gs>
                  </a:gsLst>
                  <a:lin ang="5400000" scaled="0"/>
                </a:gradFill>
              </a:rPr>
              <a:t>Managed Service Providers (MSP) provide a </a:t>
            </a:r>
            <a:r>
              <a:rPr lang="en-US" sz="1400" dirty="0">
                <a:solidFill>
                  <a:srgbClr val="000000"/>
                </a:solidFill>
              </a:rPr>
              <a:t>managed IT service to a third party that consists of the administration of and support for Microsoft Azure Services. </a:t>
            </a:r>
            <a:endParaRPr lang="en-US" sz="1400" dirty="0">
              <a:gradFill>
                <a:gsLst>
                  <a:gs pos="2917">
                    <a:srgbClr val="000000"/>
                  </a:gs>
                  <a:gs pos="30000">
                    <a:srgbClr val="000000"/>
                  </a:gs>
                </a:gsLst>
                <a:lin ang="5400000" scaled="0"/>
              </a:gradFill>
            </a:endParaRPr>
          </a:p>
        </p:txBody>
      </p:sp>
      <p:sp>
        <p:nvSpPr>
          <p:cNvPr id="113" name="TextBox 112"/>
          <p:cNvSpPr txBox="1"/>
          <p:nvPr/>
        </p:nvSpPr>
        <p:spPr>
          <a:xfrm>
            <a:off x="9710756" y="3043702"/>
            <a:ext cx="2209486" cy="2234016"/>
          </a:xfrm>
          <a:prstGeom prst="rect">
            <a:avLst/>
          </a:prstGeom>
          <a:noFill/>
        </p:spPr>
        <p:txBody>
          <a:bodyPr wrap="square" lIns="182854" tIns="146284" rIns="182854" bIns="146284" rtlCol="0">
            <a:spAutoFit/>
          </a:bodyPr>
          <a:lstStyle/>
          <a:p>
            <a:pPr>
              <a:lnSpc>
                <a:spcPct val="90000"/>
              </a:lnSpc>
              <a:spcAft>
                <a:spcPts val="600"/>
              </a:spcAft>
            </a:pPr>
            <a:r>
              <a:rPr lang="en-US" sz="1400" dirty="0">
                <a:gradFill>
                  <a:gsLst>
                    <a:gs pos="2917">
                      <a:srgbClr val="000000"/>
                    </a:gs>
                    <a:gs pos="30000">
                      <a:srgbClr val="000000"/>
                    </a:gs>
                  </a:gsLst>
                  <a:lin ang="5400000" scaled="0"/>
                </a:gradFill>
              </a:rPr>
              <a:t>The </a:t>
            </a:r>
            <a:r>
              <a:rPr lang="en-US" sz="1400" dirty="0" smtClean="0">
                <a:gradFill>
                  <a:gsLst>
                    <a:gs pos="2917">
                      <a:srgbClr val="000000"/>
                    </a:gs>
                    <a:gs pos="30000">
                      <a:srgbClr val="000000"/>
                    </a:gs>
                  </a:gsLst>
                  <a:lin ang="5400000" scaled="0"/>
                </a:gradFill>
              </a:rPr>
              <a:t>“white labeling” </a:t>
            </a:r>
            <a:r>
              <a:rPr lang="en-US" sz="1400" dirty="0">
                <a:gradFill>
                  <a:gsLst>
                    <a:gs pos="2917">
                      <a:srgbClr val="000000"/>
                    </a:gs>
                    <a:gs pos="30000">
                      <a:srgbClr val="000000"/>
                    </a:gs>
                  </a:gsLst>
                  <a:lin ang="5400000" scaled="0"/>
                </a:gradFill>
              </a:rPr>
              <a:t>or pure reselling of Azure services to end customers, where a customer that does not contract with Microsoft but directly accesses and/or manages Microsoft Azure services themselves.</a:t>
            </a:r>
          </a:p>
        </p:txBody>
      </p:sp>
      <p:sp>
        <p:nvSpPr>
          <p:cNvPr id="21" name="Rounded Rectangle 20"/>
          <p:cNvSpPr/>
          <p:nvPr/>
        </p:nvSpPr>
        <p:spPr bwMode="auto">
          <a:xfrm>
            <a:off x="270068" y="1571776"/>
            <a:ext cx="9290003" cy="342851"/>
          </a:xfrm>
          <a:prstGeom prst="round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Permitted under </a:t>
            </a:r>
            <a:r>
              <a:rPr lang="en-US" sz="1600" dirty="0" smtClean="0">
                <a:gradFill>
                  <a:gsLst>
                    <a:gs pos="0">
                      <a:srgbClr val="FFFFFF"/>
                    </a:gs>
                    <a:gs pos="100000">
                      <a:srgbClr val="FFFFFF"/>
                    </a:gs>
                  </a:gsLst>
                  <a:lin ang="5400000" scaled="0"/>
                </a:gradFill>
                <a:ea typeface="Segoe UI" pitchFamily="34" charset="0"/>
                <a:cs typeface="Segoe UI" pitchFamily="34" charset="0"/>
              </a:rPr>
              <a:t>MOSP, </a:t>
            </a:r>
            <a:r>
              <a:rPr lang="en-US" sz="1600" dirty="0" smtClean="0">
                <a:gradFill>
                  <a:gsLst>
                    <a:gs pos="0">
                      <a:srgbClr val="FFFFFF"/>
                    </a:gs>
                    <a:gs pos="100000">
                      <a:srgbClr val="FFFFFF"/>
                    </a:gs>
                  </a:gsLst>
                  <a:lin ang="5400000" scaled="0"/>
                </a:gradFill>
                <a:ea typeface="Segoe UI" pitchFamily="34" charset="0"/>
                <a:cs typeface="Segoe UI" pitchFamily="34" charset="0"/>
              </a:rPr>
              <a:t>Open, </a:t>
            </a:r>
            <a:r>
              <a:rPr lang="en-US" sz="1600" dirty="0">
                <a:gradFill>
                  <a:gsLst>
                    <a:gs pos="0">
                      <a:srgbClr val="FFFFFF"/>
                    </a:gs>
                    <a:gs pos="100000">
                      <a:srgbClr val="FFFFFF"/>
                    </a:gs>
                  </a:gsLst>
                  <a:lin ang="5400000" scaled="0"/>
                </a:gradFill>
                <a:ea typeface="Segoe UI" pitchFamily="34" charset="0"/>
                <a:cs typeface="Segoe UI" pitchFamily="34" charset="0"/>
              </a:rPr>
              <a:t>and EA</a:t>
            </a:r>
          </a:p>
        </p:txBody>
      </p:sp>
      <p:sp>
        <p:nvSpPr>
          <p:cNvPr id="118" name="Rounded Rectangle 117"/>
          <p:cNvSpPr/>
          <p:nvPr/>
        </p:nvSpPr>
        <p:spPr bwMode="auto">
          <a:xfrm>
            <a:off x="9724301" y="1579183"/>
            <a:ext cx="2195941" cy="342851"/>
          </a:xfrm>
          <a:prstGeom prst="round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ctr" anchorCtr="0" forceAA="0" compatLnSpc="1">
            <a:prstTxWarp prst="textNoShape">
              <a:avLst/>
            </a:prstTxWarp>
            <a:noAutofit/>
          </a:bodyPr>
          <a:lstStyle/>
          <a:p>
            <a:pPr algn="ctr" defTabSz="932293" fontAlgn="base">
              <a:lnSpc>
                <a:spcPct val="90000"/>
              </a:lnSpc>
              <a:spcBef>
                <a:spcPct val="0"/>
              </a:spcBef>
              <a:spcAft>
                <a:spcPct val="0"/>
              </a:spcAft>
            </a:pPr>
            <a:r>
              <a:rPr lang="en-US" sz="1600" dirty="0">
                <a:gradFill>
                  <a:gsLst>
                    <a:gs pos="0">
                      <a:srgbClr val="FFFFFF"/>
                    </a:gs>
                    <a:gs pos="100000">
                      <a:srgbClr val="FFFFFF"/>
                    </a:gs>
                  </a:gsLst>
                  <a:lin ang="5400000" scaled="0"/>
                </a:gradFill>
                <a:ea typeface="Segoe UI" pitchFamily="34" charset="0"/>
                <a:cs typeface="Segoe UI" pitchFamily="34" charset="0"/>
              </a:rPr>
              <a:t>Not Permitted</a:t>
            </a:r>
          </a:p>
        </p:txBody>
      </p:sp>
    </p:spTree>
    <p:extLst>
      <p:ext uri="{BB962C8B-B14F-4D97-AF65-F5344CB8AC3E}">
        <p14:creationId xmlns:p14="http://schemas.microsoft.com/office/powerpoint/2010/main" val="46329527"/>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456770" y="1335676"/>
            <a:ext cx="5439205" cy="4531724"/>
          </a:xfrm>
          <a:prstGeom prst="rect">
            <a:avLst/>
          </a:prstGeom>
          <a:ln w="12700">
            <a:solidFill>
              <a:schemeClr val="tx1"/>
            </a:solidFill>
            <a:prstDash val="dash"/>
          </a:ln>
        </p:spPr>
      </p:pic>
      <p:sp>
        <p:nvSpPr>
          <p:cNvPr id="9" name="Title 4"/>
          <p:cNvSpPr>
            <a:spLocks noGrp="1"/>
          </p:cNvSpPr>
          <p:nvPr>
            <p:ph type="title"/>
          </p:nvPr>
        </p:nvSpPr>
        <p:spPr/>
        <p:txBody>
          <a:bodyPr/>
          <a:lstStyle/>
          <a:p>
            <a:pPr>
              <a:lnSpc>
                <a:spcPts val="6176"/>
              </a:lnSpc>
            </a:pPr>
            <a:r>
              <a:rPr lang="en-US" sz="4310" dirty="0">
                <a:solidFill>
                  <a:schemeClr val="accent1"/>
                </a:solidFill>
              </a:rPr>
              <a:t>Azure calculators</a:t>
            </a:r>
          </a:p>
        </p:txBody>
      </p:sp>
      <p:pic>
        <p:nvPicPr>
          <p:cNvPr id="4" name="Picture 3"/>
          <p:cNvPicPr>
            <a:picLocks noChangeAspect="1"/>
          </p:cNvPicPr>
          <p:nvPr/>
        </p:nvPicPr>
        <p:blipFill rotWithShape="1">
          <a:blip r:embed="rId4"/>
          <a:srcRect r="1625"/>
          <a:stretch/>
        </p:blipFill>
        <p:spPr>
          <a:xfrm>
            <a:off x="5448300" y="1933575"/>
            <a:ext cx="6567371" cy="4669233"/>
          </a:xfrm>
          <a:prstGeom prst="rect">
            <a:avLst/>
          </a:prstGeom>
          <a:ln w="12700">
            <a:solidFill>
              <a:schemeClr val="tx1"/>
            </a:solidFill>
            <a:prstDash val="dash"/>
          </a:ln>
        </p:spPr>
      </p:pic>
    </p:spTree>
    <p:extLst>
      <p:ext uri="{BB962C8B-B14F-4D97-AF65-F5344CB8AC3E}">
        <p14:creationId xmlns:p14="http://schemas.microsoft.com/office/powerpoint/2010/main" val="3571953795"/>
      </p:ext>
    </p:extLst>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72411" y="290404"/>
            <a:ext cx="11916274" cy="899409"/>
          </a:xfrm>
          <a:prstGeom prst="rect">
            <a:avLst/>
          </a:prstGeom>
        </p:spPr>
        <p:txBody>
          <a:bodyPr/>
          <a:lstStyle>
            <a:lvl1pPr algn="l" defTabSz="93225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sz="4312" dirty="0">
              <a:solidFill>
                <a:srgbClr val="0072C6"/>
              </a:solidFill>
            </a:endParaRPr>
          </a:p>
        </p:txBody>
      </p:sp>
      <p:sp>
        <p:nvSpPr>
          <p:cNvPr id="3" name="TextBox 2"/>
          <p:cNvSpPr txBox="1"/>
          <p:nvPr/>
        </p:nvSpPr>
        <p:spPr>
          <a:xfrm>
            <a:off x="639326" y="1783789"/>
            <a:ext cx="11021189" cy="966629"/>
          </a:xfrm>
          <a:prstGeom prst="rect">
            <a:avLst/>
          </a:prstGeom>
          <a:solidFill>
            <a:schemeClr val="accent1"/>
          </a:solidFill>
        </p:spPr>
        <p:txBody>
          <a:bodyPr wrap="square" lIns="179259" tIns="143407" rIns="179259" bIns="143407" rtlCol="0">
            <a:spAutoFit/>
          </a:bodyPr>
          <a:lstStyle/>
          <a:p>
            <a:pPr defTabSz="913918">
              <a:spcBef>
                <a:spcPts val="1174"/>
              </a:spcBef>
              <a:spcAft>
                <a:spcPts val="588"/>
              </a:spcAft>
            </a:pPr>
            <a:r>
              <a:rPr lang="en-US" sz="2353" spc="-49" dirty="0">
                <a:ln>
                  <a:solidFill>
                    <a:srgbClr val="FFFFFF">
                      <a:alpha val="0"/>
                    </a:srgbClr>
                  </a:solidFill>
                </a:ln>
                <a:solidFill>
                  <a:prstClr val="white"/>
                </a:solidFill>
              </a:rPr>
              <a:t>Opportunity: </a:t>
            </a:r>
            <a:r>
              <a:rPr lang="en-US" sz="1961" spc="-49" dirty="0">
                <a:ln>
                  <a:solidFill>
                    <a:srgbClr val="FFFFFF">
                      <a:alpha val="0"/>
                    </a:srgbClr>
                  </a:solidFill>
                </a:ln>
                <a:solidFill>
                  <a:prstClr val="white"/>
                </a:solidFill>
              </a:rPr>
              <a:t>Web application server </a:t>
            </a:r>
            <a:r>
              <a:rPr lang="en-US" sz="1961" spc="-49" dirty="0" smtClean="0">
                <a:ln>
                  <a:solidFill>
                    <a:srgbClr val="FFFFFF">
                      <a:alpha val="0"/>
                    </a:srgbClr>
                  </a:solidFill>
                </a:ln>
                <a:solidFill>
                  <a:prstClr val="white"/>
                </a:solidFill>
              </a:rPr>
              <a:t>(Active Directory dependent</a:t>
            </a:r>
            <a:r>
              <a:rPr lang="en-US" sz="1961" spc="-49" dirty="0">
                <a:ln>
                  <a:solidFill>
                    <a:srgbClr val="FFFFFF">
                      <a:alpha val="0"/>
                    </a:srgbClr>
                  </a:solidFill>
                </a:ln>
                <a:solidFill>
                  <a:prstClr val="white"/>
                </a:solidFill>
              </a:rPr>
              <a:t>) running on aging hardware. Customer desires reliable, highly available platform for the application server.</a:t>
            </a:r>
          </a:p>
        </p:txBody>
      </p:sp>
      <p:sp>
        <p:nvSpPr>
          <p:cNvPr id="6" name="TextBox 5"/>
          <p:cNvSpPr txBox="1"/>
          <p:nvPr/>
        </p:nvSpPr>
        <p:spPr>
          <a:xfrm>
            <a:off x="531019" y="6070090"/>
            <a:ext cx="11129496" cy="677413"/>
          </a:xfrm>
          <a:prstGeom prst="rect">
            <a:avLst/>
          </a:prstGeom>
          <a:noFill/>
        </p:spPr>
        <p:txBody>
          <a:bodyPr wrap="square" lIns="179259" tIns="143407" rIns="179259" bIns="143407" rtlCol="0">
            <a:spAutoFit/>
          </a:bodyPr>
          <a:lstStyle/>
          <a:p>
            <a:pPr defTabSz="544092">
              <a:lnSpc>
                <a:spcPct val="90000"/>
              </a:lnSpc>
            </a:pPr>
            <a:r>
              <a:rPr lang="en-US" sz="1400" dirty="0">
                <a:gradFill>
                  <a:gsLst>
                    <a:gs pos="2917">
                      <a:srgbClr val="505050"/>
                    </a:gs>
                    <a:gs pos="30000">
                      <a:srgbClr val="505050"/>
                    </a:gs>
                  </a:gsLst>
                  <a:lin ang="5400000" scaled="0"/>
                </a:gradFill>
              </a:rPr>
              <a:t>*Since these are critical production servers, 2 </a:t>
            </a:r>
            <a:r>
              <a:rPr lang="en-US" sz="1400" dirty="0" smtClean="0">
                <a:gradFill>
                  <a:gsLst>
                    <a:gs pos="2917">
                      <a:srgbClr val="505050"/>
                    </a:gs>
                    <a:gs pos="30000">
                      <a:srgbClr val="505050"/>
                    </a:gs>
                  </a:gsLst>
                  <a:lin ang="5400000" scaled="0"/>
                </a:gradFill>
              </a:rPr>
              <a:t>VMs </a:t>
            </a:r>
            <a:r>
              <a:rPr lang="en-US" sz="1400" dirty="0">
                <a:gradFill>
                  <a:gsLst>
                    <a:gs pos="2917">
                      <a:srgbClr val="505050"/>
                    </a:gs>
                    <a:gs pos="30000">
                      <a:srgbClr val="505050"/>
                    </a:gs>
                  </a:gsLst>
                  <a:lin ang="5400000" scaled="0"/>
                </a:gradFill>
              </a:rPr>
              <a:t>are quoted. They will be part of an availability set, qualifying for the Azure SLA.</a:t>
            </a:r>
          </a:p>
          <a:p>
            <a:pPr defTabSz="544092">
              <a:lnSpc>
                <a:spcPct val="90000"/>
              </a:lnSpc>
            </a:pPr>
            <a:r>
              <a:rPr lang="en-US" sz="1400" dirty="0">
                <a:gradFill>
                  <a:gsLst>
                    <a:gs pos="2917">
                      <a:srgbClr val="505050"/>
                    </a:gs>
                    <a:gs pos="30000">
                      <a:srgbClr val="505050"/>
                    </a:gs>
                  </a:gsLst>
                  <a:lin ang="5400000" scaled="0"/>
                </a:gradFill>
              </a:rPr>
              <a:t>**Egress traffic will fluctuate based on usage but generally a low cost. *** Example only scenario, costs vary by deal. </a:t>
            </a:r>
          </a:p>
        </p:txBody>
      </p:sp>
      <p:sp>
        <p:nvSpPr>
          <p:cNvPr id="7" name="TextBox 6"/>
          <p:cNvSpPr txBox="1"/>
          <p:nvPr/>
        </p:nvSpPr>
        <p:spPr>
          <a:xfrm>
            <a:off x="459627" y="2718704"/>
            <a:ext cx="10687504" cy="658896"/>
          </a:xfrm>
          <a:prstGeom prst="rect">
            <a:avLst/>
          </a:prstGeom>
          <a:noFill/>
        </p:spPr>
        <p:txBody>
          <a:bodyPr wrap="square" lIns="179259" tIns="143407" rIns="179259" bIns="143407" rtlCol="0">
            <a:spAutoFit/>
          </a:bodyPr>
          <a:lstStyle/>
          <a:p>
            <a:pPr defTabSz="913918">
              <a:spcBef>
                <a:spcPts val="1174"/>
              </a:spcBef>
              <a:spcAft>
                <a:spcPts val="588"/>
              </a:spcAft>
            </a:pPr>
            <a:r>
              <a:rPr lang="en-US" sz="2353" spc="-49" dirty="0">
                <a:ln>
                  <a:solidFill>
                    <a:srgbClr val="FFFFFF">
                      <a:alpha val="0"/>
                    </a:srgbClr>
                  </a:solidFill>
                </a:ln>
                <a:solidFill>
                  <a:srgbClr val="000000"/>
                </a:solidFill>
              </a:rPr>
              <a:t>Proposed Microsoft Azure </a:t>
            </a:r>
            <a:r>
              <a:rPr lang="en-US" sz="2353" spc="-49" dirty="0" smtClean="0">
                <a:ln>
                  <a:solidFill>
                    <a:srgbClr val="FFFFFF">
                      <a:alpha val="0"/>
                    </a:srgbClr>
                  </a:solidFill>
                </a:ln>
                <a:solidFill>
                  <a:srgbClr val="000000"/>
                </a:solidFill>
              </a:rPr>
              <a:t>solution***</a:t>
            </a:r>
            <a:endParaRPr lang="en-US" sz="2353" spc="-49" dirty="0">
              <a:ln>
                <a:solidFill>
                  <a:srgbClr val="FFFFFF">
                    <a:alpha val="0"/>
                  </a:srgbClr>
                </a:solidFill>
              </a:ln>
              <a:solidFill>
                <a:srgbClr val="000000"/>
              </a:solidFill>
            </a:endParaRPr>
          </a:p>
        </p:txBody>
      </p:sp>
      <p:sp>
        <p:nvSpPr>
          <p:cNvPr id="9" name="Title 8"/>
          <p:cNvSpPr>
            <a:spLocks noGrp="1"/>
          </p:cNvSpPr>
          <p:nvPr>
            <p:ph type="title"/>
          </p:nvPr>
        </p:nvSpPr>
        <p:spPr/>
        <p:txBody>
          <a:bodyPr/>
          <a:lstStyle/>
          <a:p>
            <a:r>
              <a:rPr lang="pt-BR" dirty="0" smtClean="0"/>
              <a:t>Sample Microsoft Azure </a:t>
            </a:r>
            <a:r>
              <a:rPr lang="pt-BR" dirty="0" smtClean="0"/>
              <a:t>quote (U.S. $)</a:t>
            </a:r>
            <a:r>
              <a:rPr lang="pt-BR" dirty="0" smtClean="0"/>
              <a:t/>
            </a:r>
            <a:br>
              <a:rPr lang="pt-BR" dirty="0" smtClean="0"/>
            </a:br>
            <a:r>
              <a:rPr lang="pt-BR" sz="2400" dirty="0">
                <a:solidFill>
                  <a:schemeClr val="accent2"/>
                </a:solidFill>
              </a:rPr>
              <a:t>Extending a Datacenter</a:t>
            </a:r>
            <a:endParaRPr lang="en-US" sz="2400" dirty="0">
              <a:solidFill>
                <a:schemeClr val="accent2"/>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735664918"/>
              </p:ext>
            </p:extLst>
          </p:nvPr>
        </p:nvGraphicFramePr>
        <p:xfrm>
          <a:off x="639325" y="3306073"/>
          <a:ext cx="11021190" cy="2793872"/>
        </p:xfrm>
        <a:graphic>
          <a:graphicData uri="http://schemas.openxmlformats.org/drawingml/2006/table">
            <a:tbl>
              <a:tblPr firstRow="1" bandRow="1">
                <a:tableStyleId>{5C22544A-7EE6-4342-B048-85BDC9FD1C3A}</a:tableStyleId>
              </a:tblPr>
              <a:tblGrid>
                <a:gridCol w="7333075"/>
                <a:gridCol w="3688115"/>
              </a:tblGrid>
              <a:tr h="330196">
                <a:tc>
                  <a:txBody>
                    <a:bodyPr/>
                    <a:lstStyle/>
                    <a:p>
                      <a:r>
                        <a:rPr lang="en-US" sz="1800" dirty="0" smtClean="0"/>
                        <a:t>Microsoft Azure </a:t>
                      </a:r>
                      <a:r>
                        <a:rPr lang="en-US" sz="1800" dirty="0" smtClean="0"/>
                        <a:t>services</a:t>
                      </a:r>
                      <a:endParaRPr lang="en-US" sz="1800" dirty="0"/>
                    </a:p>
                  </a:txBody>
                  <a:tcPr marL="89630" marR="89630" marT="44814" marB="44814">
                    <a:lnR w="3175" cap="flat" cmpd="sng" algn="ctr">
                      <a:solidFill>
                        <a:schemeClr val="bg1">
                          <a:lumMod val="75000"/>
                        </a:schemeClr>
                      </a:solidFill>
                      <a:prstDash val="solid"/>
                      <a:round/>
                      <a:headEnd type="none" w="med" len="med"/>
                      <a:tailEnd type="none" w="med" len="med"/>
                    </a:lnR>
                  </a:tcPr>
                </a:tc>
                <a:tc>
                  <a:txBody>
                    <a:bodyPr/>
                    <a:lstStyle/>
                    <a:p>
                      <a:pPr algn="r"/>
                      <a:r>
                        <a:rPr lang="en-US" sz="1800" dirty="0" smtClean="0"/>
                        <a:t>Monthly </a:t>
                      </a:r>
                      <a:r>
                        <a:rPr lang="en-US" sz="1800" dirty="0" smtClean="0"/>
                        <a:t>cost</a:t>
                      </a:r>
                      <a:endParaRPr lang="en-US" sz="1800" dirty="0"/>
                    </a:p>
                  </a:txBody>
                  <a:tcPr marL="89630" marR="89630" marT="44814" marB="44814">
                    <a:lnL w="3175" cap="flat" cmpd="sng" algn="ctr">
                      <a:solidFill>
                        <a:schemeClr val="bg1">
                          <a:lumMod val="75000"/>
                        </a:schemeClr>
                      </a:solidFill>
                      <a:prstDash val="solid"/>
                      <a:round/>
                      <a:headEnd type="none" w="med" len="med"/>
                      <a:tailEnd type="none" w="med" len="med"/>
                    </a:lnL>
                  </a:tcPr>
                </a:tc>
              </a:tr>
              <a:tr h="302543">
                <a:tc>
                  <a:txBody>
                    <a:bodyPr/>
                    <a:lstStyle/>
                    <a:p>
                      <a:r>
                        <a:rPr lang="en-US" sz="1600" dirty="0" smtClean="0"/>
                        <a:t>Microsoft Azure </a:t>
                      </a:r>
                      <a:r>
                        <a:rPr lang="en-US" sz="1600" dirty="0" smtClean="0"/>
                        <a:t>S\services</a:t>
                      </a:r>
                      <a:endParaRPr lang="en-US" sz="1600" dirty="0"/>
                    </a:p>
                  </a:txBody>
                  <a:tcPr marL="89630" marR="89630" marT="44814" marB="44814">
                    <a:lnR w="3175"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r"/>
                      <a:r>
                        <a:rPr lang="en-US" sz="1600" dirty="0" smtClean="0"/>
                        <a:t>Monthly Cost</a:t>
                      </a:r>
                      <a:endParaRPr lang="en-US" sz="1600" dirty="0"/>
                    </a:p>
                  </a:txBody>
                  <a:tcPr marL="89630" marR="89630" marT="44814" marB="44814">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chemeClr val="bg1">
                        <a:lumMod val="95000"/>
                      </a:schemeClr>
                    </a:solidFill>
                  </a:tcPr>
                </a:tc>
              </a:tr>
              <a:tr h="357380">
                <a:tc>
                  <a:txBody>
                    <a:bodyPr/>
                    <a:lstStyle/>
                    <a:p>
                      <a:r>
                        <a:rPr lang="en-US" sz="1600" dirty="0" smtClean="0"/>
                        <a:t>2* x Application Server Virtual</a:t>
                      </a:r>
                      <a:r>
                        <a:rPr lang="en-US" sz="1600" baseline="0" dirty="0" smtClean="0"/>
                        <a:t> Machine – Standard Medium</a:t>
                      </a:r>
                      <a:endParaRPr lang="en-US" sz="1600" dirty="0"/>
                    </a:p>
                  </a:txBody>
                  <a:tcPr marL="89630" marR="89630" marT="44814" marB="44814">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lang="en-US" sz="1600" dirty="0" smtClean="0"/>
                        <a:t>$267.84</a:t>
                      </a:r>
                      <a:endParaRPr lang="en-US" sz="1600" dirty="0"/>
                    </a:p>
                  </a:txBody>
                  <a:tcPr marL="89630" marR="89630" marT="44814" marB="44814">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357380">
                <a:tc>
                  <a:txBody>
                    <a:bodyPr/>
                    <a:lstStyle/>
                    <a:p>
                      <a:r>
                        <a:rPr lang="en-US" sz="1600" dirty="0" smtClean="0"/>
                        <a:t>2* x Domain</a:t>
                      </a:r>
                      <a:r>
                        <a:rPr lang="en-US" sz="1600" baseline="0" dirty="0" smtClean="0"/>
                        <a:t> Controller Virtual Machine – Standard Small</a:t>
                      </a:r>
                      <a:endParaRPr lang="en-US" sz="1600" dirty="0"/>
                    </a:p>
                  </a:txBody>
                  <a:tcPr marL="89630" marR="89630" marT="44814" marB="44814">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r"/>
                      <a:r>
                        <a:rPr lang="en-US" sz="1600" dirty="0" smtClean="0"/>
                        <a:t>$133.92</a:t>
                      </a:r>
                      <a:endParaRPr lang="en-US" sz="1600" dirty="0"/>
                    </a:p>
                  </a:txBody>
                  <a:tcPr marL="89630" marR="89630" marT="44814" marB="44814">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r>
              <a:tr h="357380">
                <a:tc>
                  <a:txBody>
                    <a:bodyPr/>
                    <a:lstStyle/>
                    <a:p>
                      <a:r>
                        <a:rPr lang="en-US" sz="1600" dirty="0" smtClean="0"/>
                        <a:t>Virtual Network for Site to Site VPN ($.84/Day)</a:t>
                      </a:r>
                      <a:endParaRPr lang="en-US" sz="1600" dirty="0"/>
                    </a:p>
                  </a:txBody>
                  <a:tcPr marL="89630" marR="89630" marT="44814" marB="44814">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lang="en-US" sz="1600" dirty="0" smtClean="0"/>
                        <a:t>$26.78</a:t>
                      </a:r>
                      <a:endParaRPr lang="en-US" sz="1600" dirty="0"/>
                    </a:p>
                  </a:txBody>
                  <a:tcPr marL="89630" marR="89630" marT="44814" marB="44814">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357380">
                <a:tc>
                  <a:txBody>
                    <a:bodyPr/>
                    <a:lstStyle/>
                    <a:p>
                      <a:r>
                        <a:rPr lang="en-US" sz="1600" dirty="0" smtClean="0"/>
                        <a:t>Disk Storage – 400 GB (Geo Redundant Page Blob)</a:t>
                      </a:r>
                      <a:endParaRPr lang="en-US" sz="1600" dirty="0"/>
                    </a:p>
                  </a:txBody>
                  <a:tcPr marL="89630" marR="89630" marT="44814" marB="44814">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r"/>
                      <a:r>
                        <a:rPr lang="en-US" sz="1600" dirty="0" smtClean="0"/>
                        <a:t>$</a:t>
                      </a:r>
                      <a:r>
                        <a:rPr lang="en-US" sz="1600" dirty="0" smtClean="0"/>
                        <a:t>38.00</a:t>
                      </a:r>
                      <a:endParaRPr lang="en-US" sz="1600" dirty="0"/>
                    </a:p>
                  </a:txBody>
                  <a:tcPr marL="89630" marR="89630" marT="44814" marB="44814">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r>
              <a:tr h="302543">
                <a:tc>
                  <a:txBody>
                    <a:bodyPr/>
                    <a:lstStyle/>
                    <a:p>
                      <a:r>
                        <a:rPr lang="en-US" sz="1600" dirty="0" smtClean="0"/>
                        <a:t>Backup –</a:t>
                      </a:r>
                      <a:r>
                        <a:rPr lang="en-US" sz="1600" baseline="0" dirty="0" smtClean="0"/>
                        <a:t> 200 GB</a:t>
                      </a:r>
                      <a:endParaRPr lang="en-US" sz="1600" dirty="0"/>
                    </a:p>
                  </a:txBody>
                  <a:tcPr marL="89630" marR="89630" marT="44814" marB="44814">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lang="en-US" sz="1600" dirty="0" smtClean="0"/>
                        <a:t>$39.00</a:t>
                      </a:r>
                      <a:endParaRPr lang="en-US" sz="1600" dirty="0"/>
                    </a:p>
                  </a:txBody>
                  <a:tcPr marL="89630" marR="89630" marT="44814" marB="44814">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302543">
                <a:tc>
                  <a:txBody>
                    <a:bodyPr/>
                    <a:lstStyle/>
                    <a:p>
                      <a:r>
                        <a:rPr lang="en-US" sz="1600" b="0" dirty="0" smtClean="0"/>
                        <a:t>Estimated egress</a:t>
                      </a:r>
                      <a:r>
                        <a:rPr lang="en-US" sz="1600" b="0" baseline="0" dirty="0" smtClean="0"/>
                        <a:t> traffic**</a:t>
                      </a:r>
                      <a:endParaRPr lang="en-US" sz="1600" b="0" dirty="0"/>
                    </a:p>
                  </a:txBody>
                  <a:tcPr marL="89630" marR="89630" marT="44814" marB="44814">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bg1">
                        <a:lumMod val="95000"/>
                      </a:schemeClr>
                    </a:solidFill>
                  </a:tcPr>
                </a:tc>
                <a:tc>
                  <a:txBody>
                    <a:bodyPr/>
                    <a:lstStyle/>
                    <a:p>
                      <a:pPr algn="r"/>
                      <a:r>
                        <a:rPr lang="en-US" sz="1600" dirty="0" smtClean="0"/>
                        <a:t>$</a:t>
                      </a:r>
                      <a:r>
                        <a:rPr lang="en-US" sz="1600" dirty="0" smtClean="0"/>
                        <a:t>20.00</a:t>
                      </a:r>
                      <a:endParaRPr lang="en-US" sz="1600" dirty="0"/>
                    </a:p>
                  </a:txBody>
                  <a:tcPr marL="89630" marR="89630" marT="44814" marB="44814">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bg1">
                        <a:lumMod val="95000"/>
                      </a:schemeClr>
                    </a:solidFill>
                  </a:tcPr>
                </a:tc>
              </a:tr>
            </a:tbl>
          </a:graphicData>
        </a:graphic>
      </p:graphicFrame>
    </p:spTree>
    <p:extLst>
      <p:ext uri="{BB962C8B-B14F-4D97-AF65-F5344CB8AC3E}">
        <p14:creationId xmlns:p14="http://schemas.microsoft.com/office/powerpoint/2010/main" val="236589889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72411" y="290404"/>
            <a:ext cx="11916274" cy="899409"/>
          </a:xfrm>
          <a:prstGeom prst="rect">
            <a:avLst/>
          </a:prstGeom>
        </p:spPr>
        <p:txBody>
          <a:bodyPr/>
          <a:lstStyle>
            <a:lvl1pPr algn="l" defTabSz="93225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sz="4312" dirty="0">
              <a:solidFill>
                <a:srgbClr val="0072C6"/>
              </a:solidFill>
            </a:endParaRPr>
          </a:p>
        </p:txBody>
      </p:sp>
      <p:sp>
        <p:nvSpPr>
          <p:cNvPr id="3" name="TextBox 2"/>
          <p:cNvSpPr txBox="1"/>
          <p:nvPr/>
        </p:nvSpPr>
        <p:spPr>
          <a:xfrm>
            <a:off x="639326" y="1783789"/>
            <a:ext cx="11021189" cy="893113"/>
          </a:xfrm>
          <a:prstGeom prst="rect">
            <a:avLst/>
          </a:prstGeom>
          <a:solidFill>
            <a:schemeClr val="accent1"/>
          </a:solidFill>
        </p:spPr>
        <p:txBody>
          <a:bodyPr wrap="square" lIns="179259" tIns="143407" rIns="179259" bIns="143407" rtlCol="0">
            <a:spAutoFit/>
          </a:bodyPr>
          <a:lstStyle/>
          <a:p>
            <a:pPr defTabSz="913918">
              <a:spcBef>
                <a:spcPts val="1174"/>
              </a:spcBef>
              <a:spcAft>
                <a:spcPts val="588"/>
              </a:spcAft>
            </a:pPr>
            <a:r>
              <a:rPr lang="en-US" sz="1961" spc="-49" dirty="0">
                <a:ln>
                  <a:solidFill>
                    <a:srgbClr val="FFFFFF">
                      <a:alpha val="0"/>
                    </a:srgbClr>
                  </a:solidFill>
                </a:ln>
                <a:solidFill>
                  <a:prstClr val="white"/>
                </a:solidFill>
              </a:rPr>
              <a:t>Opportunity: Customer uses several cloud SaaS providers including Office 365 and is having challenges with managing users and passwords for all services</a:t>
            </a:r>
            <a:r>
              <a:rPr lang="en-US" sz="1961" spc="-49" dirty="0" smtClean="0">
                <a:ln>
                  <a:solidFill>
                    <a:srgbClr val="FFFFFF">
                      <a:alpha val="0"/>
                    </a:srgbClr>
                  </a:solidFill>
                </a:ln>
                <a:solidFill>
                  <a:prstClr val="white"/>
                </a:solidFill>
              </a:rPr>
              <a:t>.</a:t>
            </a:r>
            <a:endParaRPr lang="en-US" sz="1961" spc="-49" dirty="0">
              <a:ln>
                <a:solidFill>
                  <a:srgbClr val="FFFFFF">
                    <a:alpha val="0"/>
                  </a:srgbClr>
                </a:solidFill>
              </a:ln>
              <a:solidFill>
                <a:prstClr val="white"/>
              </a:solidFill>
            </a:endParaRPr>
          </a:p>
        </p:txBody>
      </p:sp>
      <p:sp>
        <p:nvSpPr>
          <p:cNvPr id="9" name="Title 8"/>
          <p:cNvSpPr>
            <a:spLocks noGrp="1"/>
          </p:cNvSpPr>
          <p:nvPr>
            <p:ph type="title"/>
          </p:nvPr>
        </p:nvSpPr>
        <p:spPr/>
        <p:txBody>
          <a:bodyPr/>
          <a:lstStyle/>
          <a:p>
            <a:r>
              <a:rPr lang="pt-BR" dirty="0"/>
              <a:t>Sample Microsoft Azure </a:t>
            </a:r>
            <a:r>
              <a:rPr lang="pt-BR" dirty="0" smtClean="0"/>
              <a:t>quote (U.S. $)</a:t>
            </a:r>
            <a:r>
              <a:rPr lang="pt-BR" dirty="0"/>
              <a:t/>
            </a:r>
            <a:br>
              <a:rPr lang="pt-BR" dirty="0"/>
            </a:br>
            <a:r>
              <a:rPr lang="pt-BR" sz="2400" dirty="0">
                <a:solidFill>
                  <a:schemeClr val="accent2"/>
                </a:solidFill>
              </a:rPr>
              <a:t>Identity Management (App Portal)</a:t>
            </a:r>
            <a:endParaRPr lang="en-US" sz="2400" dirty="0">
              <a:solidFill>
                <a:schemeClr val="accent2"/>
              </a:solidFill>
            </a:endParaRPr>
          </a:p>
        </p:txBody>
      </p:sp>
      <p:graphicFrame>
        <p:nvGraphicFramePr>
          <p:cNvPr id="10" name="Table 9"/>
          <p:cNvGraphicFramePr>
            <a:graphicFrameLocks noGrp="1"/>
          </p:cNvGraphicFramePr>
          <p:nvPr>
            <p:extLst>
              <p:ext uri="{D42A27DB-BD31-4B8C-83A1-F6EECF244321}">
                <p14:modId xmlns:p14="http://schemas.microsoft.com/office/powerpoint/2010/main" val="3597516946"/>
              </p:ext>
            </p:extLst>
          </p:nvPr>
        </p:nvGraphicFramePr>
        <p:xfrm>
          <a:off x="639325" y="3306073"/>
          <a:ext cx="11021190" cy="2793872"/>
        </p:xfrm>
        <a:graphic>
          <a:graphicData uri="http://schemas.openxmlformats.org/drawingml/2006/table">
            <a:tbl>
              <a:tblPr firstRow="1" bandRow="1">
                <a:tableStyleId>{5C22544A-7EE6-4342-B048-85BDC9FD1C3A}</a:tableStyleId>
              </a:tblPr>
              <a:tblGrid>
                <a:gridCol w="7333075"/>
                <a:gridCol w="3688115"/>
              </a:tblGrid>
              <a:tr h="330196">
                <a:tc>
                  <a:txBody>
                    <a:bodyPr/>
                    <a:lstStyle/>
                    <a:p>
                      <a:pPr marL="0" algn="l" defTabSz="914367" rtl="0" eaLnBrk="1" latinLnBrk="0" hangingPunct="1"/>
                      <a:r>
                        <a:rPr lang="en-US" sz="1800" b="1" kern="1200" dirty="0" smtClean="0">
                          <a:solidFill>
                            <a:schemeClr val="lt1"/>
                          </a:solidFill>
                          <a:latin typeface="+mn-lt"/>
                          <a:ea typeface="+mn-ea"/>
                          <a:cs typeface="+mn-cs"/>
                        </a:rPr>
                        <a:t>Microsoft Azure services</a:t>
                      </a:r>
                      <a:endParaRPr lang="en-US" sz="1800" b="1" kern="1200" dirty="0">
                        <a:solidFill>
                          <a:schemeClr val="lt1"/>
                        </a:solidFill>
                        <a:latin typeface="+mn-lt"/>
                        <a:ea typeface="+mn-ea"/>
                        <a:cs typeface="+mn-cs"/>
                      </a:endParaRPr>
                    </a:p>
                  </a:txBody>
                  <a:tcPr marL="89630" marR="89630" marT="44814" marB="44814">
                    <a:lnR w="3175" cap="flat" cmpd="sng" algn="ctr">
                      <a:solidFill>
                        <a:schemeClr val="bg1">
                          <a:lumMod val="75000"/>
                        </a:schemeClr>
                      </a:solidFill>
                      <a:prstDash val="solid"/>
                      <a:round/>
                      <a:headEnd type="none" w="med" len="med"/>
                      <a:tailEnd type="none" w="med" len="med"/>
                    </a:lnR>
                  </a:tcPr>
                </a:tc>
                <a:tc>
                  <a:txBody>
                    <a:bodyPr/>
                    <a:lstStyle/>
                    <a:p>
                      <a:pPr marL="0" algn="r" defTabSz="914367" rtl="0" eaLnBrk="1" latinLnBrk="0" hangingPunct="1"/>
                      <a:r>
                        <a:rPr lang="en-US" sz="1800" b="1" kern="1200" dirty="0" smtClean="0">
                          <a:solidFill>
                            <a:schemeClr val="lt1"/>
                          </a:solidFill>
                          <a:latin typeface="+mn-lt"/>
                          <a:ea typeface="+mn-ea"/>
                          <a:cs typeface="+mn-cs"/>
                        </a:rPr>
                        <a:t>Monthly </a:t>
                      </a:r>
                      <a:r>
                        <a:rPr lang="en-US" sz="1800" b="1" kern="1200" dirty="0" smtClean="0">
                          <a:solidFill>
                            <a:schemeClr val="lt1"/>
                          </a:solidFill>
                          <a:latin typeface="+mn-lt"/>
                          <a:ea typeface="+mn-ea"/>
                          <a:cs typeface="+mn-cs"/>
                        </a:rPr>
                        <a:t>cost</a:t>
                      </a:r>
                      <a:endParaRPr lang="en-US" sz="1800" b="1" kern="1200" dirty="0">
                        <a:solidFill>
                          <a:schemeClr val="lt1"/>
                        </a:solidFill>
                        <a:latin typeface="+mn-lt"/>
                        <a:ea typeface="+mn-ea"/>
                        <a:cs typeface="+mn-cs"/>
                      </a:endParaRPr>
                    </a:p>
                  </a:txBody>
                  <a:tcPr marL="89630" marR="89630" marT="44814" marB="44814">
                    <a:lnL w="3175" cap="flat" cmpd="sng" algn="ctr">
                      <a:solidFill>
                        <a:schemeClr val="bg1">
                          <a:lumMod val="75000"/>
                        </a:schemeClr>
                      </a:solidFill>
                      <a:prstDash val="solid"/>
                      <a:round/>
                      <a:headEnd type="none" w="med" len="med"/>
                      <a:tailEnd type="none" w="med" len="med"/>
                    </a:lnL>
                  </a:tcPr>
                </a:tc>
              </a:tr>
              <a:tr h="302543">
                <a:tc>
                  <a:txBody>
                    <a:bodyPr/>
                    <a:lstStyle/>
                    <a:p>
                      <a:pPr marL="0" algn="r" defTabSz="914367" rtl="0" eaLnBrk="1" latinLnBrk="0" hangingPunct="1"/>
                      <a:r>
                        <a:rPr lang="en-US" sz="1600" kern="1200" dirty="0" smtClean="0">
                          <a:solidFill>
                            <a:schemeClr val="dk1"/>
                          </a:solidFill>
                          <a:latin typeface="+mn-lt"/>
                          <a:ea typeface="+mn-ea"/>
                          <a:cs typeface="+mn-cs"/>
                        </a:rPr>
                        <a:t>Add Office 365 Azure Active Directory to existing Azure tenant</a:t>
                      </a:r>
                      <a:endParaRPr lang="en-US" sz="1600" kern="1200" dirty="0">
                        <a:solidFill>
                          <a:schemeClr val="dk1"/>
                        </a:solidFill>
                        <a:latin typeface="+mn-lt"/>
                        <a:ea typeface="+mn-ea"/>
                        <a:cs typeface="+mn-cs"/>
                      </a:endParaRPr>
                    </a:p>
                  </a:txBody>
                  <a:tcPr marL="89630" marR="89630" marT="44814" marB="44814">
                    <a:lnR w="3175"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r" defTabSz="914367" rtl="0" eaLnBrk="1" latinLnBrk="0" hangingPunct="1"/>
                      <a:r>
                        <a:rPr lang="en-US" sz="1600" kern="1200" dirty="0" smtClean="0">
                          <a:solidFill>
                            <a:schemeClr val="dk1"/>
                          </a:solidFill>
                          <a:latin typeface="+mn-lt"/>
                          <a:ea typeface="+mn-ea"/>
                          <a:cs typeface="+mn-cs"/>
                        </a:rPr>
                        <a:t>Free</a:t>
                      </a:r>
                      <a:endParaRPr lang="en-US" sz="1600" kern="1200" dirty="0">
                        <a:solidFill>
                          <a:schemeClr val="dk1"/>
                        </a:solidFill>
                        <a:latin typeface="+mn-lt"/>
                        <a:ea typeface="+mn-ea"/>
                        <a:cs typeface="+mn-cs"/>
                      </a:endParaRPr>
                    </a:p>
                  </a:txBody>
                  <a:tcPr marL="89630" marR="89630" marT="44814" marB="44814">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chemeClr val="bg1">
                        <a:lumMod val="95000"/>
                      </a:schemeClr>
                    </a:solidFill>
                  </a:tcPr>
                </a:tc>
              </a:tr>
              <a:tr h="357380">
                <a:tc>
                  <a:txBody>
                    <a:bodyPr/>
                    <a:lstStyle/>
                    <a:p>
                      <a:pPr marL="0" algn="r" defTabSz="914367" rtl="0" eaLnBrk="1" latinLnBrk="0" hangingPunct="1"/>
                      <a:r>
                        <a:rPr lang="en-US" sz="1600" kern="1200" dirty="0" smtClean="0">
                          <a:solidFill>
                            <a:schemeClr val="dk1"/>
                          </a:solidFill>
                          <a:latin typeface="+mn-lt"/>
                          <a:ea typeface="+mn-ea"/>
                          <a:cs typeface="+mn-cs"/>
                        </a:rPr>
                        <a:t>2* x Domain Controller Virtual Machine (One running Dirsync) – Standard Small</a:t>
                      </a:r>
                      <a:endParaRPr lang="en-US" sz="1600" kern="1200" dirty="0">
                        <a:solidFill>
                          <a:schemeClr val="dk1"/>
                        </a:solidFill>
                        <a:latin typeface="+mn-lt"/>
                        <a:ea typeface="+mn-ea"/>
                        <a:cs typeface="+mn-cs"/>
                      </a:endParaRPr>
                    </a:p>
                  </a:txBody>
                  <a:tcPr marL="89630" marR="89630" marT="44814" marB="44814">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r" defTabSz="914367" rtl="0" eaLnBrk="1" latinLnBrk="0" hangingPunct="1"/>
                      <a:r>
                        <a:rPr lang="en-US" sz="1600" kern="1200" dirty="0" smtClean="0">
                          <a:solidFill>
                            <a:schemeClr val="dk1"/>
                          </a:solidFill>
                          <a:latin typeface="+mn-lt"/>
                          <a:ea typeface="+mn-ea"/>
                          <a:cs typeface="+mn-cs"/>
                        </a:rPr>
                        <a:t>$133.92</a:t>
                      </a:r>
                      <a:endParaRPr lang="en-US" sz="1600" kern="1200" dirty="0">
                        <a:solidFill>
                          <a:schemeClr val="dk1"/>
                        </a:solidFill>
                        <a:latin typeface="+mn-lt"/>
                        <a:ea typeface="+mn-ea"/>
                        <a:cs typeface="+mn-cs"/>
                      </a:endParaRPr>
                    </a:p>
                  </a:txBody>
                  <a:tcPr marL="89630" marR="89630" marT="44814" marB="44814">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357380">
                <a:tc>
                  <a:txBody>
                    <a:bodyPr/>
                    <a:lstStyle/>
                    <a:p>
                      <a:pPr marL="0" algn="r" defTabSz="914367" rtl="0" eaLnBrk="1" latinLnBrk="0" hangingPunct="1"/>
                      <a:r>
                        <a:rPr lang="en-US" sz="1600" kern="1200" dirty="0" smtClean="0">
                          <a:solidFill>
                            <a:schemeClr val="dk1"/>
                          </a:solidFill>
                          <a:latin typeface="+mn-lt"/>
                          <a:ea typeface="+mn-ea"/>
                          <a:cs typeface="+mn-cs"/>
                        </a:rPr>
                        <a:t>Virtual Network for Site to Site VPN ($.84/Day)</a:t>
                      </a:r>
                      <a:endParaRPr lang="en-US" sz="1600" kern="1200" dirty="0">
                        <a:solidFill>
                          <a:schemeClr val="dk1"/>
                        </a:solidFill>
                        <a:latin typeface="+mn-lt"/>
                        <a:ea typeface="+mn-ea"/>
                        <a:cs typeface="+mn-cs"/>
                      </a:endParaRPr>
                    </a:p>
                  </a:txBody>
                  <a:tcPr marL="89630" marR="89630" marT="44814" marB="44814">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r" defTabSz="914367" rtl="0" eaLnBrk="1" latinLnBrk="0" hangingPunct="1"/>
                      <a:r>
                        <a:rPr lang="en-US" sz="1600" kern="1200" dirty="0" smtClean="0">
                          <a:solidFill>
                            <a:schemeClr val="dk1"/>
                          </a:solidFill>
                          <a:latin typeface="+mn-lt"/>
                          <a:ea typeface="+mn-ea"/>
                          <a:cs typeface="+mn-cs"/>
                        </a:rPr>
                        <a:t>$26.78</a:t>
                      </a:r>
                      <a:endParaRPr lang="en-US" sz="1600" kern="1200" dirty="0">
                        <a:solidFill>
                          <a:schemeClr val="dk1"/>
                        </a:solidFill>
                        <a:latin typeface="+mn-lt"/>
                        <a:ea typeface="+mn-ea"/>
                        <a:cs typeface="+mn-cs"/>
                      </a:endParaRPr>
                    </a:p>
                  </a:txBody>
                  <a:tcPr marL="89630" marR="89630" marT="44814" marB="44814">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r>
              <a:tr h="357380">
                <a:tc>
                  <a:txBody>
                    <a:bodyPr/>
                    <a:lstStyle/>
                    <a:p>
                      <a:pPr marL="0" algn="r" defTabSz="914367" rtl="0" eaLnBrk="1" latinLnBrk="0" hangingPunct="1"/>
                      <a:r>
                        <a:rPr lang="en-US" sz="1600" kern="1200" dirty="0" smtClean="0">
                          <a:solidFill>
                            <a:schemeClr val="dk1"/>
                          </a:solidFill>
                          <a:latin typeface="+mn-lt"/>
                          <a:ea typeface="+mn-ea"/>
                          <a:cs typeface="+mn-cs"/>
                        </a:rPr>
                        <a:t>10 SaaS identity integrations in Azure Active Directory</a:t>
                      </a:r>
                      <a:endParaRPr lang="en-US" sz="1600" kern="1200" dirty="0">
                        <a:solidFill>
                          <a:schemeClr val="dk1"/>
                        </a:solidFill>
                        <a:latin typeface="+mn-lt"/>
                        <a:ea typeface="+mn-ea"/>
                        <a:cs typeface="+mn-cs"/>
                      </a:endParaRPr>
                    </a:p>
                  </a:txBody>
                  <a:tcPr marL="89630" marR="89630" marT="44814" marB="44814">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r" defTabSz="914367" rtl="0" eaLnBrk="1" latinLnBrk="0" hangingPunct="1"/>
                      <a:r>
                        <a:rPr lang="en-US" sz="1600" kern="1200" dirty="0" smtClean="0">
                          <a:solidFill>
                            <a:schemeClr val="dk1"/>
                          </a:solidFill>
                          <a:latin typeface="+mn-lt"/>
                          <a:ea typeface="+mn-ea"/>
                          <a:cs typeface="+mn-cs"/>
                        </a:rPr>
                        <a:t>Free</a:t>
                      </a:r>
                      <a:endParaRPr lang="en-US" sz="1600" kern="1200" dirty="0">
                        <a:solidFill>
                          <a:schemeClr val="dk1"/>
                        </a:solidFill>
                        <a:latin typeface="+mn-lt"/>
                        <a:ea typeface="+mn-ea"/>
                        <a:cs typeface="+mn-cs"/>
                      </a:endParaRPr>
                    </a:p>
                  </a:txBody>
                  <a:tcPr marL="89630" marR="89630" marT="44814" marB="44814">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357380">
                <a:tc>
                  <a:txBody>
                    <a:bodyPr/>
                    <a:lstStyle/>
                    <a:p>
                      <a:pPr marL="0" algn="r" defTabSz="914367" rtl="0" eaLnBrk="1" latinLnBrk="0" hangingPunct="1"/>
                      <a:r>
                        <a:rPr lang="en-US" sz="1600" kern="1200" dirty="0" smtClean="0">
                          <a:solidFill>
                            <a:schemeClr val="dk1"/>
                          </a:solidFill>
                          <a:latin typeface="+mn-lt"/>
                          <a:ea typeface="+mn-ea"/>
                          <a:cs typeface="+mn-cs"/>
                        </a:rPr>
                        <a:t>Estimated egress traffic** (172GB/Month)</a:t>
                      </a:r>
                      <a:endParaRPr lang="en-US" sz="1600" kern="1200" dirty="0">
                        <a:solidFill>
                          <a:schemeClr val="dk1"/>
                        </a:solidFill>
                        <a:latin typeface="+mn-lt"/>
                        <a:ea typeface="+mn-ea"/>
                        <a:cs typeface="+mn-cs"/>
                      </a:endParaRPr>
                    </a:p>
                  </a:txBody>
                  <a:tcPr marL="89630" marR="89630" marT="44814" marB="44814">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algn="r" defTabSz="914367" rtl="0" eaLnBrk="1" latinLnBrk="0" hangingPunct="1"/>
                      <a:r>
                        <a:rPr lang="en-US" sz="1600" kern="1200" dirty="0" smtClean="0">
                          <a:solidFill>
                            <a:schemeClr val="dk1"/>
                          </a:solidFill>
                          <a:latin typeface="+mn-lt"/>
                          <a:ea typeface="+mn-ea"/>
                          <a:cs typeface="+mn-cs"/>
                        </a:rPr>
                        <a:t>$</a:t>
                      </a:r>
                      <a:r>
                        <a:rPr lang="en-US" sz="1600" kern="1200" dirty="0" smtClean="0">
                          <a:solidFill>
                            <a:schemeClr val="dk1"/>
                          </a:solidFill>
                          <a:latin typeface="+mn-lt"/>
                          <a:ea typeface="+mn-ea"/>
                          <a:cs typeface="+mn-cs"/>
                        </a:rPr>
                        <a:t>20.00</a:t>
                      </a:r>
                      <a:endParaRPr lang="en-US" sz="1600" kern="1200" dirty="0">
                        <a:solidFill>
                          <a:schemeClr val="dk1"/>
                        </a:solidFill>
                        <a:latin typeface="+mn-lt"/>
                        <a:ea typeface="+mn-ea"/>
                        <a:cs typeface="+mn-cs"/>
                      </a:endParaRPr>
                    </a:p>
                  </a:txBody>
                  <a:tcPr marL="89630" marR="89630" marT="44814" marB="44814">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r>
              <a:tr h="302543">
                <a:tc>
                  <a:txBody>
                    <a:bodyPr/>
                    <a:lstStyle/>
                    <a:p>
                      <a:pPr marL="0" marR="0" indent="0" algn="r" defTabSz="914367" rtl="0" eaLnBrk="1" fontAlgn="auto" latinLnBrk="0" hangingPunct="1">
                        <a:lnSpc>
                          <a:spcPct val="100000"/>
                        </a:lnSpc>
                        <a:spcBef>
                          <a:spcPts val="0"/>
                        </a:spcBef>
                        <a:spcAft>
                          <a:spcPts val="0"/>
                        </a:spcAft>
                        <a:buClrTx/>
                        <a:buSzTx/>
                        <a:buFontTx/>
                        <a:buNone/>
                        <a:tabLst/>
                        <a:defRPr/>
                      </a:pPr>
                      <a:r>
                        <a:rPr lang="en-US" sz="1600" kern="1200" dirty="0" smtClean="0">
                          <a:solidFill>
                            <a:schemeClr val="dk1"/>
                          </a:solidFill>
                          <a:latin typeface="+mn-lt"/>
                          <a:ea typeface="+mn-ea"/>
                          <a:cs typeface="+mn-cs"/>
                        </a:rPr>
                        <a:t>Total Monthly Estimated Cost</a:t>
                      </a:r>
                    </a:p>
                  </a:txBody>
                  <a:tcPr marL="89630" marR="89630" marT="44814" marB="44814">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r" defTabSz="914367" rtl="0" eaLnBrk="1" latinLnBrk="0" hangingPunct="1"/>
                      <a:r>
                        <a:rPr lang="en-US" sz="1600" kern="1200" dirty="0" smtClean="0">
                          <a:solidFill>
                            <a:schemeClr val="dk1"/>
                          </a:solidFill>
                          <a:latin typeface="+mn-lt"/>
                          <a:ea typeface="+mn-ea"/>
                          <a:cs typeface="+mn-cs"/>
                        </a:rPr>
                        <a:t>$180.70</a:t>
                      </a:r>
                      <a:endParaRPr lang="en-US" sz="1600" kern="1200" dirty="0">
                        <a:solidFill>
                          <a:schemeClr val="dk1"/>
                        </a:solidFill>
                        <a:latin typeface="+mn-lt"/>
                        <a:ea typeface="+mn-ea"/>
                        <a:cs typeface="+mn-cs"/>
                      </a:endParaRPr>
                    </a:p>
                  </a:txBody>
                  <a:tcPr marL="89630" marR="89630" marT="44814" marB="44814">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302543">
                <a:tc>
                  <a:txBody>
                    <a:bodyPr/>
                    <a:lstStyle/>
                    <a:p>
                      <a:pPr marL="0" algn="r" defTabSz="914367" rtl="0" eaLnBrk="1" latinLnBrk="0" hangingPunct="1"/>
                      <a:r>
                        <a:rPr lang="en-US" sz="1600" kern="1200" dirty="0" smtClean="0">
                          <a:solidFill>
                            <a:schemeClr val="dk1"/>
                          </a:solidFill>
                          <a:latin typeface="+mn-lt"/>
                          <a:ea typeface="+mn-ea"/>
                          <a:cs typeface="+mn-cs"/>
                        </a:rPr>
                        <a:t>Azure Services</a:t>
                      </a:r>
                      <a:endParaRPr lang="en-US" sz="1600" kern="1200" dirty="0">
                        <a:solidFill>
                          <a:schemeClr val="dk1"/>
                        </a:solidFill>
                        <a:latin typeface="+mn-lt"/>
                        <a:ea typeface="+mn-ea"/>
                        <a:cs typeface="+mn-cs"/>
                      </a:endParaRPr>
                    </a:p>
                  </a:txBody>
                  <a:tcPr marL="89630" marR="89630" marT="44814" marB="44814">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bg1">
                        <a:lumMod val="95000"/>
                      </a:schemeClr>
                    </a:solidFill>
                  </a:tcPr>
                </a:tc>
                <a:tc>
                  <a:txBody>
                    <a:bodyPr/>
                    <a:lstStyle/>
                    <a:p>
                      <a:pPr marL="0" algn="r" defTabSz="914367" rtl="0" eaLnBrk="1" latinLnBrk="0" hangingPunct="1"/>
                      <a:r>
                        <a:rPr lang="en-US" sz="1600" kern="1200" dirty="0" smtClean="0">
                          <a:solidFill>
                            <a:schemeClr val="dk1"/>
                          </a:solidFill>
                          <a:latin typeface="+mn-lt"/>
                          <a:ea typeface="+mn-ea"/>
                          <a:cs typeface="+mn-cs"/>
                        </a:rPr>
                        <a:t>Monthly Cost</a:t>
                      </a:r>
                      <a:endParaRPr lang="en-US" sz="1600" kern="1200" dirty="0">
                        <a:solidFill>
                          <a:schemeClr val="dk1"/>
                        </a:solidFill>
                        <a:latin typeface="+mn-lt"/>
                        <a:ea typeface="+mn-ea"/>
                        <a:cs typeface="+mn-cs"/>
                      </a:endParaRPr>
                    </a:p>
                  </a:txBody>
                  <a:tcPr marL="89630" marR="89630" marT="44814" marB="44814">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solidFill>
                      <a:schemeClr val="bg1">
                        <a:lumMod val="95000"/>
                      </a:schemeClr>
                    </a:solidFill>
                  </a:tcPr>
                </a:tc>
              </a:tr>
            </a:tbl>
          </a:graphicData>
        </a:graphic>
      </p:graphicFrame>
      <p:sp>
        <p:nvSpPr>
          <p:cNvPr id="11" name="TextBox 10"/>
          <p:cNvSpPr txBox="1"/>
          <p:nvPr/>
        </p:nvSpPr>
        <p:spPr>
          <a:xfrm>
            <a:off x="531019" y="2740535"/>
            <a:ext cx="10687504" cy="658896"/>
          </a:xfrm>
          <a:prstGeom prst="rect">
            <a:avLst/>
          </a:prstGeom>
          <a:noFill/>
        </p:spPr>
        <p:txBody>
          <a:bodyPr wrap="square" lIns="179259" tIns="143407" rIns="179259" bIns="143407" rtlCol="0">
            <a:spAutoFit/>
          </a:bodyPr>
          <a:lstStyle/>
          <a:p>
            <a:pPr defTabSz="913918">
              <a:spcBef>
                <a:spcPts val="1174"/>
              </a:spcBef>
              <a:spcAft>
                <a:spcPts val="588"/>
              </a:spcAft>
            </a:pPr>
            <a:r>
              <a:rPr lang="en-US" sz="2353" spc="-49" dirty="0">
                <a:ln>
                  <a:solidFill>
                    <a:srgbClr val="FFFFFF">
                      <a:alpha val="0"/>
                    </a:srgbClr>
                  </a:solidFill>
                </a:ln>
                <a:solidFill>
                  <a:srgbClr val="000000"/>
                </a:solidFill>
              </a:rPr>
              <a:t>Proposed Microsoft Azure </a:t>
            </a:r>
            <a:r>
              <a:rPr lang="en-US" sz="2353" spc="-49" dirty="0" smtClean="0">
                <a:ln>
                  <a:solidFill>
                    <a:srgbClr val="FFFFFF">
                      <a:alpha val="0"/>
                    </a:srgbClr>
                  </a:solidFill>
                </a:ln>
                <a:solidFill>
                  <a:srgbClr val="000000"/>
                </a:solidFill>
              </a:rPr>
              <a:t>solution</a:t>
            </a:r>
            <a:endParaRPr lang="en-US" sz="2353" spc="-49" dirty="0">
              <a:ln>
                <a:solidFill>
                  <a:srgbClr val="FFFFFF">
                    <a:alpha val="0"/>
                  </a:srgbClr>
                </a:solidFill>
              </a:ln>
              <a:solidFill>
                <a:srgbClr val="000000"/>
              </a:solidFill>
            </a:endParaRPr>
          </a:p>
        </p:txBody>
      </p:sp>
      <p:sp>
        <p:nvSpPr>
          <p:cNvPr id="12" name="TextBox 11"/>
          <p:cNvSpPr txBox="1"/>
          <p:nvPr/>
        </p:nvSpPr>
        <p:spPr>
          <a:xfrm>
            <a:off x="531019" y="6105858"/>
            <a:ext cx="11129496" cy="677413"/>
          </a:xfrm>
          <a:prstGeom prst="rect">
            <a:avLst/>
          </a:prstGeom>
          <a:noFill/>
        </p:spPr>
        <p:txBody>
          <a:bodyPr wrap="square" lIns="179259" tIns="143407" rIns="179259" bIns="143407" rtlCol="0">
            <a:spAutoFit/>
          </a:bodyPr>
          <a:lstStyle/>
          <a:p>
            <a:pPr defTabSz="544092">
              <a:lnSpc>
                <a:spcPct val="90000"/>
              </a:lnSpc>
            </a:pPr>
            <a:r>
              <a:rPr lang="en-US" sz="1400" dirty="0">
                <a:gradFill>
                  <a:gsLst>
                    <a:gs pos="2917">
                      <a:srgbClr val="505050"/>
                    </a:gs>
                    <a:gs pos="30000">
                      <a:srgbClr val="505050"/>
                    </a:gs>
                  </a:gsLst>
                  <a:lin ang="5400000" scaled="0"/>
                </a:gradFill>
              </a:rPr>
              <a:t>*Since these are critical production servers, 2 </a:t>
            </a:r>
            <a:r>
              <a:rPr lang="en-US" sz="1400" dirty="0" smtClean="0">
                <a:gradFill>
                  <a:gsLst>
                    <a:gs pos="2917">
                      <a:srgbClr val="505050"/>
                    </a:gs>
                    <a:gs pos="30000">
                      <a:srgbClr val="505050"/>
                    </a:gs>
                  </a:gsLst>
                  <a:lin ang="5400000" scaled="0"/>
                </a:gradFill>
              </a:rPr>
              <a:t>VMs </a:t>
            </a:r>
            <a:r>
              <a:rPr lang="en-US" sz="1400" dirty="0">
                <a:gradFill>
                  <a:gsLst>
                    <a:gs pos="2917">
                      <a:srgbClr val="505050"/>
                    </a:gs>
                    <a:gs pos="30000">
                      <a:srgbClr val="505050"/>
                    </a:gs>
                  </a:gsLst>
                  <a:lin ang="5400000" scaled="0"/>
                </a:gradFill>
              </a:rPr>
              <a:t>are quoted. They will be part of an availability set, qualifying for the Azure SLA.</a:t>
            </a:r>
          </a:p>
          <a:p>
            <a:pPr defTabSz="544092">
              <a:lnSpc>
                <a:spcPct val="90000"/>
              </a:lnSpc>
            </a:pPr>
            <a:r>
              <a:rPr lang="en-US" sz="1400" dirty="0">
                <a:gradFill>
                  <a:gsLst>
                    <a:gs pos="2917">
                      <a:srgbClr val="505050"/>
                    </a:gs>
                    <a:gs pos="30000">
                      <a:srgbClr val="505050"/>
                    </a:gs>
                  </a:gsLst>
                  <a:lin ang="5400000" scaled="0"/>
                </a:gradFill>
              </a:rPr>
              <a:t>**Egress traffic will fluctuate based on usage but generally a low cost.</a:t>
            </a:r>
          </a:p>
        </p:txBody>
      </p:sp>
    </p:spTree>
    <p:extLst>
      <p:ext uri="{BB962C8B-B14F-4D97-AF65-F5344CB8AC3E}">
        <p14:creationId xmlns:p14="http://schemas.microsoft.com/office/powerpoint/2010/main" val="116940150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72411" y="290404"/>
            <a:ext cx="11916274" cy="899409"/>
          </a:xfrm>
          <a:prstGeom prst="rect">
            <a:avLst/>
          </a:prstGeom>
        </p:spPr>
        <p:txBody>
          <a:bodyPr/>
          <a:lstStyle>
            <a:lvl1pPr algn="l" defTabSz="932254" rtl="0" eaLnBrk="1" latinLnBrk="0" hangingPunct="1">
              <a:lnSpc>
                <a:spcPct val="90000"/>
              </a:lnSpc>
              <a:spcBef>
                <a:spcPct val="0"/>
              </a:spcBef>
              <a:buNone/>
              <a:defRPr lang="en-US" sz="5398"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sz="4312" dirty="0">
              <a:solidFill>
                <a:srgbClr val="0072C6"/>
              </a:solidFill>
            </a:endParaRPr>
          </a:p>
        </p:txBody>
      </p:sp>
      <p:sp>
        <p:nvSpPr>
          <p:cNvPr id="3" name="TextBox 2"/>
          <p:cNvSpPr txBox="1"/>
          <p:nvPr/>
        </p:nvSpPr>
        <p:spPr>
          <a:xfrm>
            <a:off x="417752" y="1652699"/>
            <a:ext cx="3974837" cy="4201327"/>
          </a:xfrm>
          <a:prstGeom prst="rect">
            <a:avLst/>
          </a:prstGeom>
          <a:solidFill>
            <a:schemeClr val="accent1"/>
          </a:solidFill>
        </p:spPr>
        <p:txBody>
          <a:bodyPr wrap="square" lIns="179259" tIns="143407" rIns="179259" bIns="143407" rtlCol="0">
            <a:spAutoFit/>
          </a:bodyPr>
          <a:lstStyle/>
          <a:p>
            <a:pPr defTabSz="913918">
              <a:spcBef>
                <a:spcPts val="1174"/>
              </a:spcBef>
              <a:spcAft>
                <a:spcPts val="588"/>
              </a:spcAft>
            </a:pPr>
            <a:r>
              <a:rPr lang="en-US" sz="4704" spc="-49" dirty="0">
                <a:ln>
                  <a:solidFill>
                    <a:srgbClr val="FFFFFF">
                      <a:alpha val="0"/>
                    </a:srgbClr>
                  </a:solidFill>
                </a:ln>
                <a:solidFill>
                  <a:prstClr val="white"/>
                </a:solidFill>
              </a:rPr>
              <a:t>Opportunity: </a:t>
            </a:r>
          </a:p>
          <a:p>
            <a:pPr defTabSz="913918">
              <a:spcBef>
                <a:spcPts val="1174"/>
              </a:spcBef>
              <a:spcAft>
                <a:spcPts val="588"/>
              </a:spcAft>
            </a:pPr>
            <a:r>
              <a:rPr lang="en-US" sz="2745" spc="-49" dirty="0" smtClean="0">
                <a:ln>
                  <a:solidFill>
                    <a:srgbClr val="FFFFFF">
                      <a:alpha val="0"/>
                    </a:srgbClr>
                  </a:solidFill>
                </a:ln>
                <a:solidFill>
                  <a:prstClr val="white"/>
                </a:solidFill>
              </a:rPr>
              <a:t>Pizza </a:t>
            </a:r>
            <a:r>
              <a:rPr lang="en-US" sz="2745" spc="-49" dirty="0">
                <a:ln>
                  <a:solidFill>
                    <a:srgbClr val="FFFFFF">
                      <a:alpha val="0"/>
                    </a:srgbClr>
                  </a:solidFill>
                </a:ln>
                <a:solidFill>
                  <a:prstClr val="white"/>
                </a:solidFill>
              </a:rPr>
              <a:t>franchise runs </a:t>
            </a:r>
            <a:r>
              <a:rPr lang="en-US" sz="2745" spc="-49" dirty="0" smtClean="0">
                <a:ln>
                  <a:solidFill>
                    <a:srgbClr val="FFFFFF">
                      <a:alpha val="0"/>
                    </a:srgbClr>
                  </a:solidFill>
                </a:ln>
                <a:solidFill>
                  <a:prstClr val="white"/>
                </a:solidFill>
              </a:rPr>
              <a:t>internal </a:t>
            </a:r>
            <a:r>
              <a:rPr lang="en-US" sz="2745" spc="-49" dirty="0">
                <a:ln>
                  <a:solidFill>
                    <a:srgbClr val="FFFFFF">
                      <a:alpha val="0"/>
                    </a:srgbClr>
                  </a:solidFill>
                </a:ln>
                <a:solidFill>
                  <a:prstClr val="white"/>
                </a:solidFill>
              </a:rPr>
              <a:t>and </a:t>
            </a:r>
            <a:r>
              <a:rPr lang="en-US" sz="2745" spc="-49" dirty="0" smtClean="0">
                <a:ln>
                  <a:solidFill>
                    <a:srgbClr val="FFFFFF">
                      <a:alpha val="0"/>
                    </a:srgbClr>
                  </a:solidFill>
                </a:ln>
                <a:solidFill>
                  <a:prstClr val="white"/>
                </a:solidFill>
              </a:rPr>
              <a:t>external </a:t>
            </a:r>
            <a:r>
              <a:rPr lang="en-US" sz="2745" spc="-49" dirty="0">
                <a:ln>
                  <a:solidFill>
                    <a:srgbClr val="FFFFFF">
                      <a:alpha val="0"/>
                    </a:srgbClr>
                  </a:solidFill>
                </a:ln>
                <a:solidFill>
                  <a:prstClr val="white"/>
                </a:solidFill>
              </a:rPr>
              <a:t>websites with a commerce platform </a:t>
            </a:r>
            <a:r>
              <a:rPr lang="en-US" sz="2745" spc="-49" dirty="0" smtClean="0">
                <a:ln>
                  <a:solidFill>
                    <a:srgbClr val="FFFFFF">
                      <a:alpha val="0"/>
                    </a:srgbClr>
                  </a:solidFill>
                </a:ln>
                <a:solidFill>
                  <a:prstClr val="white"/>
                </a:solidFill>
              </a:rPr>
              <a:t>included and wants </a:t>
            </a:r>
            <a:r>
              <a:rPr lang="en-US" sz="2745" spc="-49" dirty="0">
                <a:ln>
                  <a:solidFill>
                    <a:srgbClr val="FFFFFF">
                      <a:alpha val="0"/>
                    </a:srgbClr>
                  </a:solidFill>
                </a:ln>
                <a:solidFill>
                  <a:prstClr val="white"/>
                </a:solidFill>
              </a:rPr>
              <a:t>to get </a:t>
            </a:r>
            <a:r>
              <a:rPr lang="en-US" sz="2745" spc="-49" dirty="0" smtClean="0">
                <a:ln>
                  <a:solidFill>
                    <a:srgbClr val="FFFFFF">
                      <a:alpha val="0"/>
                    </a:srgbClr>
                  </a:solidFill>
                </a:ln>
                <a:solidFill>
                  <a:prstClr val="white"/>
                </a:solidFill>
              </a:rPr>
              <a:t>rid </a:t>
            </a:r>
            <a:r>
              <a:rPr lang="en-US" sz="2745" spc="-49" dirty="0">
                <a:ln>
                  <a:solidFill>
                    <a:srgbClr val="FFFFFF">
                      <a:alpha val="0"/>
                    </a:srgbClr>
                  </a:solidFill>
                </a:ln>
                <a:solidFill>
                  <a:prstClr val="white"/>
                </a:solidFill>
              </a:rPr>
              <a:t>of </a:t>
            </a:r>
            <a:r>
              <a:rPr lang="en-US" sz="2745" spc="-49" dirty="0" smtClean="0">
                <a:ln>
                  <a:solidFill>
                    <a:srgbClr val="FFFFFF">
                      <a:alpha val="0"/>
                    </a:srgbClr>
                  </a:solidFill>
                </a:ln>
                <a:solidFill>
                  <a:prstClr val="white"/>
                </a:solidFill>
              </a:rPr>
              <a:t>on-premises </a:t>
            </a:r>
            <a:r>
              <a:rPr lang="en-US" sz="2745" spc="-49" dirty="0">
                <a:ln>
                  <a:solidFill>
                    <a:srgbClr val="FFFFFF">
                      <a:alpha val="0"/>
                    </a:srgbClr>
                  </a:solidFill>
                </a:ln>
                <a:solidFill>
                  <a:prstClr val="white"/>
                </a:solidFill>
              </a:rPr>
              <a:t>solution.</a:t>
            </a:r>
            <a:endParaRPr lang="en-US" sz="2353" spc="-49" dirty="0">
              <a:ln>
                <a:solidFill>
                  <a:srgbClr val="FFFFFF">
                    <a:alpha val="0"/>
                  </a:srgbClr>
                </a:solidFill>
              </a:ln>
              <a:solidFill>
                <a:prstClr val="white"/>
              </a:solidFill>
            </a:endParaRPr>
          </a:p>
        </p:txBody>
      </p:sp>
      <p:sp>
        <p:nvSpPr>
          <p:cNvPr id="6" name="TextBox 5"/>
          <p:cNvSpPr txBox="1"/>
          <p:nvPr/>
        </p:nvSpPr>
        <p:spPr>
          <a:xfrm>
            <a:off x="4811875" y="4921515"/>
            <a:ext cx="6767349" cy="483514"/>
          </a:xfrm>
          <a:prstGeom prst="rect">
            <a:avLst/>
          </a:prstGeom>
          <a:noFill/>
        </p:spPr>
        <p:txBody>
          <a:bodyPr wrap="square" lIns="179259" tIns="143407" rIns="179259" bIns="143407" rtlCol="0">
            <a:spAutoFit/>
          </a:bodyPr>
          <a:lstStyle/>
          <a:p>
            <a:pPr defTabSz="544092">
              <a:lnSpc>
                <a:spcPct val="90000"/>
              </a:lnSpc>
            </a:pPr>
            <a:r>
              <a:rPr lang="en-US" sz="1400" dirty="0">
                <a:gradFill>
                  <a:gsLst>
                    <a:gs pos="2917">
                      <a:srgbClr val="505050"/>
                    </a:gs>
                    <a:gs pos="30000">
                      <a:srgbClr val="505050"/>
                    </a:gs>
                  </a:gsLst>
                  <a:lin ang="5400000" scaled="0"/>
                </a:gradFill>
              </a:rPr>
              <a:t>*Egress traffic will fluctuate based on usage but generally a low cost.</a:t>
            </a:r>
          </a:p>
        </p:txBody>
      </p:sp>
      <p:sp>
        <p:nvSpPr>
          <p:cNvPr id="7" name="TextBox 6"/>
          <p:cNvSpPr txBox="1"/>
          <p:nvPr/>
        </p:nvSpPr>
        <p:spPr>
          <a:xfrm>
            <a:off x="4811875" y="1652699"/>
            <a:ext cx="10687504" cy="658896"/>
          </a:xfrm>
          <a:prstGeom prst="rect">
            <a:avLst/>
          </a:prstGeom>
          <a:noFill/>
        </p:spPr>
        <p:txBody>
          <a:bodyPr wrap="square" lIns="179259" tIns="143407" rIns="179259" bIns="143407" rtlCol="0">
            <a:spAutoFit/>
          </a:bodyPr>
          <a:lstStyle/>
          <a:p>
            <a:pPr defTabSz="913918">
              <a:spcBef>
                <a:spcPts val="1174"/>
              </a:spcBef>
              <a:spcAft>
                <a:spcPts val="588"/>
              </a:spcAft>
            </a:pPr>
            <a:r>
              <a:rPr lang="en-US" sz="2353" spc="-49" dirty="0">
                <a:ln>
                  <a:solidFill>
                    <a:srgbClr val="FFFFFF">
                      <a:alpha val="0"/>
                    </a:srgbClr>
                  </a:solidFill>
                </a:ln>
                <a:solidFill>
                  <a:srgbClr val="000000"/>
                </a:solidFill>
              </a:rPr>
              <a:t>Proposed Microsoft Azure </a:t>
            </a:r>
            <a:r>
              <a:rPr lang="en-US" sz="2353" spc="-49" dirty="0" smtClean="0">
                <a:ln>
                  <a:solidFill>
                    <a:srgbClr val="FFFFFF">
                      <a:alpha val="0"/>
                    </a:srgbClr>
                  </a:solidFill>
                </a:ln>
                <a:solidFill>
                  <a:srgbClr val="000000"/>
                </a:solidFill>
              </a:rPr>
              <a:t>s</a:t>
            </a:r>
            <a:r>
              <a:rPr lang="en-US" sz="2353" spc="-49" dirty="0" smtClean="0">
                <a:ln>
                  <a:solidFill>
                    <a:srgbClr val="FFFFFF">
                      <a:alpha val="0"/>
                    </a:srgbClr>
                  </a:solidFill>
                </a:ln>
                <a:solidFill>
                  <a:srgbClr val="000000"/>
                </a:solidFill>
              </a:rPr>
              <a:t>olution</a:t>
            </a:r>
            <a:endParaRPr lang="en-US" sz="2353" spc="-49" dirty="0">
              <a:ln>
                <a:solidFill>
                  <a:srgbClr val="FFFFFF">
                    <a:alpha val="0"/>
                  </a:srgbClr>
                </a:solidFill>
              </a:ln>
              <a:solidFill>
                <a:srgbClr val="000000"/>
              </a:solidFill>
            </a:endParaRPr>
          </a:p>
        </p:txBody>
      </p:sp>
      <p:sp>
        <p:nvSpPr>
          <p:cNvPr id="9" name="Title 8"/>
          <p:cNvSpPr>
            <a:spLocks noGrp="1"/>
          </p:cNvSpPr>
          <p:nvPr>
            <p:ph type="title"/>
          </p:nvPr>
        </p:nvSpPr>
        <p:spPr>
          <a:xfrm>
            <a:off x="417752" y="259792"/>
            <a:ext cx="11161472" cy="1075884"/>
          </a:xfrm>
        </p:spPr>
        <p:txBody>
          <a:bodyPr/>
          <a:lstStyle/>
          <a:p>
            <a:r>
              <a:rPr lang="pt-BR" dirty="0" smtClean="0"/>
              <a:t>Sample Microsoft Azure </a:t>
            </a:r>
            <a:r>
              <a:rPr lang="pt-BR" dirty="0" smtClean="0"/>
              <a:t>quote (U.S. $)</a:t>
            </a:r>
            <a:r>
              <a:rPr lang="pt-BR" dirty="0" smtClean="0"/>
              <a:t/>
            </a:r>
            <a:br>
              <a:rPr lang="pt-BR" dirty="0" smtClean="0"/>
            </a:br>
            <a:r>
              <a:rPr lang="pt-BR" sz="2400" dirty="0">
                <a:solidFill>
                  <a:schemeClr val="accent2"/>
                </a:solidFill>
              </a:rPr>
              <a:t>Websites on Azure</a:t>
            </a:r>
            <a:endParaRPr lang="en-US" sz="2400" dirty="0">
              <a:solidFill>
                <a:schemeClr val="accent2"/>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3268079041"/>
              </p:ext>
            </p:extLst>
          </p:nvPr>
        </p:nvGraphicFramePr>
        <p:xfrm>
          <a:off x="4962644" y="2290073"/>
          <a:ext cx="6697870" cy="2365692"/>
        </p:xfrm>
        <a:graphic>
          <a:graphicData uri="http://schemas.openxmlformats.org/drawingml/2006/table">
            <a:tbl>
              <a:tblPr firstRow="1" bandRow="1">
                <a:tableStyleId>{5C22544A-7EE6-4342-B048-85BDC9FD1C3A}</a:tableStyleId>
              </a:tblPr>
              <a:tblGrid>
                <a:gridCol w="4456505"/>
                <a:gridCol w="2241365"/>
              </a:tblGrid>
              <a:tr h="330196">
                <a:tc>
                  <a:txBody>
                    <a:bodyPr/>
                    <a:lstStyle/>
                    <a:p>
                      <a:r>
                        <a:rPr lang="en-US" sz="1400" dirty="0" smtClean="0"/>
                        <a:t>Azure </a:t>
                      </a:r>
                      <a:r>
                        <a:rPr lang="en-US" sz="1400" dirty="0" smtClean="0"/>
                        <a:t>services</a:t>
                      </a:r>
                      <a:endParaRPr lang="en-US" sz="1400" dirty="0"/>
                    </a:p>
                  </a:txBody>
                  <a:tcPr marL="89630" marR="89630" marT="44814" marB="44814">
                    <a:lnR w="3175" cap="flat" cmpd="sng" algn="ctr">
                      <a:solidFill>
                        <a:schemeClr val="bg1">
                          <a:lumMod val="75000"/>
                        </a:schemeClr>
                      </a:solidFill>
                      <a:prstDash val="solid"/>
                      <a:round/>
                      <a:headEnd type="none" w="med" len="med"/>
                      <a:tailEnd type="none" w="med" len="med"/>
                    </a:lnR>
                  </a:tcPr>
                </a:tc>
                <a:tc>
                  <a:txBody>
                    <a:bodyPr/>
                    <a:lstStyle/>
                    <a:p>
                      <a:pPr algn="r"/>
                      <a:r>
                        <a:rPr lang="en-US" sz="1400" dirty="0" smtClean="0"/>
                        <a:t>Monthly </a:t>
                      </a:r>
                      <a:r>
                        <a:rPr lang="en-US" sz="1400" dirty="0" smtClean="0"/>
                        <a:t>cost</a:t>
                      </a:r>
                      <a:endParaRPr lang="en-US" sz="1400" dirty="0"/>
                    </a:p>
                  </a:txBody>
                  <a:tcPr marL="89630" marR="89630" marT="44814" marB="44814">
                    <a:lnL w="3175" cap="flat" cmpd="sng" algn="ctr">
                      <a:solidFill>
                        <a:schemeClr val="bg1">
                          <a:lumMod val="75000"/>
                        </a:schemeClr>
                      </a:solidFill>
                      <a:prstDash val="solid"/>
                      <a:round/>
                      <a:headEnd type="none" w="med" len="med"/>
                      <a:tailEnd type="none" w="med" len="med"/>
                    </a:lnL>
                  </a:tcPr>
                </a:tc>
              </a:tr>
              <a:tr h="302543">
                <a:tc>
                  <a:txBody>
                    <a:bodyPr/>
                    <a:lstStyle/>
                    <a:p>
                      <a:r>
                        <a:rPr lang="en-US" sz="1400" dirty="0" smtClean="0"/>
                        <a:t>2</a:t>
                      </a:r>
                      <a:r>
                        <a:rPr lang="en-US" sz="1400" baseline="0" dirty="0" smtClean="0"/>
                        <a:t> x</a:t>
                      </a:r>
                      <a:r>
                        <a:rPr lang="en-US" sz="1400" dirty="0" smtClean="0"/>
                        <a:t> </a:t>
                      </a:r>
                      <a:r>
                        <a:rPr lang="en-US" sz="1400" dirty="0" smtClean="0"/>
                        <a:t>Azure</a:t>
                      </a:r>
                      <a:r>
                        <a:rPr lang="en-US" sz="1400" baseline="0" dirty="0" smtClean="0"/>
                        <a:t> basic </a:t>
                      </a:r>
                      <a:r>
                        <a:rPr lang="en-US" sz="1400" dirty="0" smtClean="0"/>
                        <a:t>websites</a:t>
                      </a:r>
                      <a:endParaRPr lang="en-US" sz="1400" dirty="0"/>
                    </a:p>
                  </a:txBody>
                  <a:tcPr marL="89630" marR="89630" marT="44814" marB="44814">
                    <a:lnR w="3175"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r"/>
                      <a:r>
                        <a:rPr lang="en-US" sz="1400" dirty="0" smtClean="0"/>
                        <a:t>$111.60</a:t>
                      </a:r>
                      <a:endParaRPr lang="en-US" sz="1400" dirty="0"/>
                    </a:p>
                  </a:txBody>
                  <a:tcPr marL="89630" marR="89630" marT="44814" marB="44814">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B w="6350" cap="flat" cmpd="sng" algn="ctr">
                      <a:solidFill>
                        <a:schemeClr val="bg1">
                          <a:lumMod val="75000"/>
                        </a:schemeClr>
                      </a:solidFill>
                      <a:prstDash val="solid"/>
                      <a:round/>
                      <a:headEnd type="none" w="med" len="med"/>
                      <a:tailEnd type="none" w="med" len="med"/>
                    </a:lnB>
                    <a:solidFill>
                      <a:schemeClr val="bg1">
                        <a:lumMod val="95000"/>
                      </a:schemeClr>
                    </a:solidFill>
                  </a:tcPr>
                </a:tc>
              </a:tr>
              <a:tr h="357380">
                <a:tc>
                  <a:txBody>
                    <a:bodyPr/>
                    <a:lstStyle/>
                    <a:p>
                      <a:r>
                        <a:rPr lang="en-US" sz="1400" dirty="0" smtClean="0"/>
                        <a:t>200 GB storage (Geo Redundant Page Blob</a:t>
                      </a:r>
                      <a:r>
                        <a:rPr lang="en-US" sz="1400" baseline="0" dirty="0" smtClean="0"/>
                        <a:t> Storage)</a:t>
                      </a:r>
                      <a:endParaRPr lang="en-US" sz="1400" dirty="0"/>
                    </a:p>
                  </a:txBody>
                  <a:tcPr marL="89630" marR="89630" marT="44814" marB="44814">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lang="en-US" sz="1400" dirty="0" smtClean="0"/>
                        <a:t>$19.00</a:t>
                      </a:r>
                      <a:endParaRPr lang="en-US" sz="1400" dirty="0"/>
                    </a:p>
                  </a:txBody>
                  <a:tcPr marL="89630" marR="89630" marT="44814" marB="44814">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357380">
                <a:tc>
                  <a:txBody>
                    <a:bodyPr/>
                    <a:lstStyle/>
                    <a:p>
                      <a:r>
                        <a:rPr lang="en-US" sz="1400" b="0" dirty="0" smtClean="0"/>
                        <a:t>500 GB egress</a:t>
                      </a:r>
                      <a:r>
                        <a:rPr lang="en-US" sz="1400" b="0" baseline="0" dirty="0" smtClean="0"/>
                        <a:t> traffic** </a:t>
                      </a:r>
                      <a:endParaRPr lang="en-US" sz="1400" b="0" dirty="0"/>
                    </a:p>
                  </a:txBody>
                  <a:tcPr marL="89630" marR="89630" marT="44814" marB="44814">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r"/>
                      <a:r>
                        <a:rPr lang="en-US" sz="1400" dirty="0" smtClean="0"/>
                        <a:t>$43.07</a:t>
                      </a:r>
                      <a:endParaRPr lang="en-US" sz="1400" dirty="0"/>
                    </a:p>
                  </a:txBody>
                  <a:tcPr marL="89630" marR="89630" marT="44814" marB="44814">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r>
              <a:tr h="357380">
                <a:tc>
                  <a:txBody>
                    <a:bodyPr/>
                    <a:lstStyle/>
                    <a:p>
                      <a:pPr marL="0" marR="0" indent="0" algn="l" defTabSz="932254" rtl="0" eaLnBrk="1" fontAlgn="auto" latinLnBrk="0" hangingPunct="1">
                        <a:lnSpc>
                          <a:spcPct val="100000"/>
                        </a:lnSpc>
                        <a:spcBef>
                          <a:spcPts val="0"/>
                        </a:spcBef>
                        <a:spcAft>
                          <a:spcPts val="0"/>
                        </a:spcAft>
                        <a:buClrTx/>
                        <a:buSzTx/>
                        <a:buFontTx/>
                        <a:buNone/>
                        <a:tabLst/>
                        <a:defRPr/>
                      </a:pPr>
                      <a:r>
                        <a:rPr lang="en-US" sz="1400" dirty="0" smtClean="0"/>
                        <a:t>1 small basic SQL Server machine</a:t>
                      </a:r>
                    </a:p>
                  </a:txBody>
                  <a:tcPr marL="89630" marR="89630" marT="44814" marB="44814">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lang="en-US" sz="1400" dirty="0" smtClean="0"/>
                        <a:t>$352.66</a:t>
                      </a:r>
                      <a:endParaRPr lang="en-US" sz="1400" dirty="0"/>
                    </a:p>
                  </a:txBody>
                  <a:tcPr marL="89630" marR="89630" marT="44814" marB="44814">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r h="357380">
                <a:tc>
                  <a:txBody>
                    <a:bodyPr/>
                    <a:lstStyle/>
                    <a:p>
                      <a:pPr marL="0" marR="0" indent="0" algn="l" defTabSz="932254" rtl="0" eaLnBrk="1" fontAlgn="auto" latinLnBrk="0" hangingPunct="1">
                        <a:lnSpc>
                          <a:spcPct val="100000"/>
                        </a:lnSpc>
                        <a:spcBef>
                          <a:spcPts val="0"/>
                        </a:spcBef>
                        <a:spcAft>
                          <a:spcPts val="0"/>
                        </a:spcAft>
                        <a:buClrTx/>
                        <a:buSzTx/>
                        <a:buFontTx/>
                        <a:buNone/>
                        <a:tabLst/>
                        <a:defRPr/>
                      </a:pPr>
                      <a:r>
                        <a:rPr lang="en-US" sz="1400" b="1" dirty="0" smtClean="0"/>
                        <a:t>Total Monthly Estimated Cost</a:t>
                      </a:r>
                    </a:p>
                  </a:txBody>
                  <a:tcPr marL="89630" marR="89630" marT="44814" marB="44814">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algn="r"/>
                      <a:r>
                        <a:rPr lang="en-US" sz="1400" b="1" dirty="0" smtClean="0"/>
                        <a:t>$526.32</a:t>
                      </a:r>
                      <a:endParaRPr lang="en-US" sz="1400" b="1" dirty="0"/>
                    </a:p>
                  </a:txBody>
                  <a:tcPr marL="89630" marR="89630" marT="44814" marB="44814">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lumMod val="95000"/>
                      </a:schemeClr>
                    </a:solidFill>
                  </a:tcPr>
                </a:tc>
              </a:tr>
              <a:tr h="302543">
                <a:tc>
                  <a:txBody>
                    <a:bodyPr/>
                    <a:lstStyle/>
                    <a:p>
                      <a:pPr marL="0" marR="0" indent="0" algn="l" defTabSz="932254" rtl="0" eaLnBrk="1" fontAlgn="auto" latinLnBrk="0" hangingPunct="1">
                        <a:lnSpc>
                          <a:spcPct val="100000"/>
                        </a:lnSpc>
                        <a:spcBef>
                          <a:spcPts val="0"/>
                        </a:spcBef>
                        <a:spcAft>
                          <a:spcPts val="0"/>
                        </a:spcAft>
                        <a:buClrTx/>
                        <a:buSzTx/>
                        <a:buFontTx/>
                        <a:buNone/>
                        <a:tabLst/>
                        <a:defRPr/>
                      </a:pPr>
                      <a:r>
                        <a:rPr lang="en-US" sz="1400" b="1" dirty="0" smtClean="0"/>
                        <a:t>Yearly Costs</a:t>
                      </a:r>
                    </a:p>
                  </a:txBody>
                  <a:tcPr marL="89630" marR="89630" marT="44814" marB="44814">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c>
                  <a:txBody>
                    <a:bodyPr/>
                    <a:lstStyle/>
                    <a:p>
                      <a:pPr algn="r"/>
                      <a:r>
                        <a:rPr lang="en-US" sz="1400" b="1" dirty="0" smtClean="0"/>
                        <a:t>$6,315.85</a:t>
                      </a:r>
                      <a:endParaRPr lang="en-US" sz="1400" b="1" dirty="0"/>
                    </a:p>
                  </a:txBody>
                  <a:tcPr marL="89630" marR="89630" marT="44814" marB="44814">
                    <a:lnL w="3175" cap="flat" cmpd="sng" algn="ctr">
                      <a:solidFill>
                        <a:schemeClr val="bg1">
                          <a:lumMod val="75000"/>
                        </a:schemeClr>
                      </a:solidFill>
                      <a:prstDash val="solid"/>
                      <a:round/>
                      <a:headEnd type="none" w="med" len="med"/>
                      <a:tailEnd type="none" w="med" len="med"/>
                    </a:lnL>
                    <a:lnR w="3175"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bg1"/>
                    </a:solidFill>
                  </a:tcPr>
                </a:tc>
              </a:tr>
            </a:tbl>
          </a:graphicData>
        </a:graphic>
      </p:graphicFrame>
    </p:spTree>
    <p:extLst>
      <p:ext uri="{BB962C8B-B14F-4D97-AF65-F5344CB8AC3E}">
        <p14:creationId xmlns:p14="http://schemas.microsoft.com/office/powerpoint/2010/main" val="211638004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IN" dirty="0" smtClean="0"/>
              <a:t>Thank you!</a:t>
            </a:r>
            <a:endParaRPr lang="en-IN" dirty="0"/>
          </a:p>
        </p:txBody>
      </p:sp>
      <p:sp>
        <p:nvSpPr>
          <p:cNvPr id="5" name="Subtitle 4"/>
          <p:cNvSpPr>
            <a:spLocks noGrp="1"/>
          </p:cNvSpPr>
          <p:nvPr>
            <p:ph type="subTitle" idx="1"/>
          </p:nvPr>
        </p:nvSpPr>
        <p:spPr/>
        <p:txBody>
          <a:bodyPr/>
          <a:lstStyle/>
          <a:p>
            <a:endParaRPr lang="en-IN" dirty="0"/>
          </a:p>
        </p:txBody>
      </p:sp>
    </p:spTree>
    <p:extLst>
      <p:ext uri="{BB962C8B-B14F-4D97-AF65-F5344CB8AC3E}">
        <p14:creationId xmlns:p14="http://schemas.microsoft.com/office/powerpoint/2010/main" val="3733475131"/>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solidFill>
                  <a:srgbClr val="0070C0"/>
                </a:solidFill>
              </a:rPr>
              <a:t>Azure benefits for MSDN </a:t>
            </a:r>
            <a:r>
              <a:rPr lang="en-US" dirty="0" smtClean="0">
                <a:solidFill>
                  <a:srgbClr val="0070C0"/>
                </a:solidFill>
              </a:rPr>
              <a:t>subscribers (U.S. $)</a:t>
            </a:r>
            <a:endParaRPr lang="en-US" dirty="0">
              <a:solidFill>
                <a:srgbClr val="0070C0"/>
              </a:solidFill>
            </a:endParaRPr>
          </a:p>
        </p:txBody>
      </p:sp>
      <p:graphicFrame>
        <p:nvGraphicFramePr>
          <p:cNvPr id="9" name="Table 8"/>
          <p:cNvGraphicFramePr>
            <a:graphicFrameLocks noGrp="1"/>
          </p:cNvGraphicFramePr>
          <p:nvPr>
            <p:extLst>
              <p:ext uri="{D42A27DB-BD31-4B8C-83A1-F6EECF244321}">
                <p14:modId xmlns:p14="http://schemas.microsoft.com/office/powerpoint/2010/main" val="2735789099"/>
              </p:ext>
            </p:extLst>
          </p:nvPr>
        </p:nvGraphicFramePr>
        <p:xfrm>
          <a:off x="449770" y="1394926"/>
          <a:ext cx="11286236" cy="1822730"/>
        </p:xfrm>
        <a:graphic>
          <a:graphicData uri="http://schemas.openxmlformats.org/drawingml/2006/table">
            <a:tbl>
              <a:tblPr firstRow="1" bandRow="1">
                <a:tableStyleId>{5C22544A-7EE6-4342-B048-85BDC9FD1C3A}</a:tableStyleId>
              </a:tblPr>
              <a:tblGrid>
                <a:gridCol w="2687718"/>
                <a:gridCol w="2021350"/>
                <a:gridCol w="2490655"/>
                <a:gridCol w="896425"/>
                <a:gridCol w="1897433"/>
                <a:gridCol w="1292655"/>
              </a:tblGrid>
              <a:tr h="717140">
                <a:tc>
                  <a:txBody>
                    <a:bodyPr/>
                    <a:lstStyle/>
                    <a:p>
                      <a:pPr algn="ctr"/>
                      <a:r>
                        <a:rPr lang="en-US" sz="1370" b="0" dirty="0" smtClean="0">
                          <a:solidFill>
                            <a:schemeClr val="bg1"/>
                          </a:solidFill>
                          <a:latin typeface="Segoe UI Semibold" panose="020B0702040204020203" pitchFamily="34" charset="0"/>
                        </a:rPr>
                        <a:t>Subscription level</a:t>
                      </a:r>
                      <a:endParaRPr lang="en-US" sz="1370" b="0" dirty="0">
                        <a:solidFill>
                          <a:schemeClr val="bg1"/>
                        </a:solidFill>
                        <a:latin typeface="Segoe UI Semibold" panose="020B0702040204020203" pitchFamily="34" charset="0"/>
                      </a:endParaRPr>
                    </a:p>
                  </a:txBody>
                  <a:tcPr marL="26893" marR="26893" marT="44821" marB="44821"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algn="ctr"/>
                      <a:r>
                        <a:rPr lang="en-US" sz="1370" b="0" dirty="0" smtClean="0">
                          <a:latin typeface="Segoe UI Semibold" panose="020B0702040204020203" pitchFamily="34" charset="0"/>
                        </a:rPr>
                        <a:t>Visual</a:t>
                      </a:r>
                      <a:r>
                        <a:rPr lang="en-US" sz="1370" b="0" baseline="0" dirty="0" smtClean="0">
                          <a:latin typeface="Segoe UI Semibold" panose="020B0702040204020203" pitchFamily="34" charset="0"/>
                        </a:rPr>
                        <a:t> </a:t>
                      </a:r>
                      <a:r>
                        <a:rPr lang="en-US" sz="1370" b="0" baseline="0" dirty="0" smtClean="0">
                          <a:latin typeface="Segoe UI Semibold" panose="020B0702040204020203" pitchFamily="34" charset="0"/>
                        </a:rPr>
                        <a:t>Studio Professional </a:t>
                      </a:r>
                      <a:r>
                        <a:rPr lang="en-US" sz="1370" b="0" baseline="0" dirty="0" smtClean="0">
                          <a:latin typeface="Segoe UI Semibold" panose="020B0702040204020203" pitchFamily="34" charset="0"/>
                        </a:rPr>
                        <a:t>with MSDN</a:t>
                      </a:r>
                      <a:endParaRPr lang="en-US" sz="1370" b="0" dirty="0">
                        <a:latin typeface="Segoe UI Semibold" panose="020B0702040204020203" pitchFamily="34" charset="0"/>
                      </a:endParaRPr>
                    </a:p>
                  </a:txBody>
                  <a:tcPr marL="26893" marR="26893" marT="44821" marB="448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370" b="0" dirty="0" smtClean="0">
                          <a:latin typeface="Segoe UI Semibold" panose="020B0702040204020203" pitchFamily="34" charset="0"/>
                        </a:rPr>
                        <a:t>Visual</a:t>
                      </a:r>
                      <a:r>
                        <a:rPr lang="en-US" sz="1370" b="0" baseline="0" dirty="0" smtClean="0">
                          <a:latin typeface="Segoe UI Semibold" panose="020B0702040204020203" pitchFamily="34" charset="0"/>
                        </a:rPr>
                        <a:t> </a:t>
                      </a:r>
                      <a:r>
                        <a:rPr lang="en-US" sz="1370" b="0" baseline="0" dirty="0" smtClean="0">
                          <a:latin typeface="Segoe UI Semibold" panose="020B0702040204020203" pitchFamily="34" charset="0"/>
                        </a:rPr>
                        <a:t>Studio Test Professional </a:t>
                      </a:r>
                      <a:r>
                        <a:rPr lang="en-US" sz="1370" b="0" baseline="0" dirty="0" smtClean="0">
                          <a:latin typeface="Segoe UI Semibold" panose="020B0702040204020203" pitchFamily="34" charset="0"/>
                        </a:rPr>
                        <a:t>with MSDN</a:t>
                      </a:r>
                      <a:endParaRPr lang="en-US" sz="1370" b="0" dirty="0">
                        <a:latin typeface="Segoe UI Semibold" panose="020B0702040204020203" pitchFamily="34" charset="0"/>
                      </a:endParaRPr>
                    </a:p>
                  </a:txBody>
                  <a:tcPr marL="26893" marR="26893" marT="44821" marB="448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370" b="0" baseline="0" dirty="0" smtClean="0">
                          <a:latin typeface="Segoe UI Semibold" panose="020B0702040204020203" pitchFamily="34" charset="0"/>
                        </a:rPr>
                        <a:t>MSDN</a:t>
                      </a:r>
                      <a:endParaRPr lang="en-US" sz="1370" b="0" dirty="0" smtClean="0">
                        <a:latin typeface="Segoe UI Semibold" panose="020B0702040204020203" pitchFamily="34" charset="0"/>
                      </a:endParaRPr>
                    </a:p>
                    <a:p>
                      <a:pPr algn="ctr"/>
                      <a:r>
                        <a:rPr lang="en-US" sz="1370" b="0" dirty="0" smtClean="0">
                          <a:latin typeface="Segoe UI Semibold" panose="020B0702040204020203" pitchFamily="34" charset="0"/>
                        </a:rPr>
                        <a:t>platforms</a:t>
                      </a:r>
                      <a:endParaRPr lang="en-US" sz="1370" b="0" dirty="0">
                        <a:latin typeface="Segoe UI Semibold" panose="020B0702040204020203" pitchFamily="34" charset="0"/>
                      </a:endParaRPr>
                    </a:p>
                  </a:txBody>
                  <a:tcPr marL="26893" marR="26893" marT="44821" marB="448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US" sz="1370" b="0" dirty="0" smtClean="0">
                          <a:latin typeface="Segoe UI Semibold" panose="020B0702040204020203" pitchFamily="34" charset="0"/>
                        </a:rPr>
                        <a:t>Visual</a:t>
                      </a:r>
                      <a:r>
                        <a:rPr lang="en-US" sz="1370" b="0" baseline="0" dirty="0" smtClean="0">
                          <a:latin typeface="Segoe UI Semibold" panose="020B0702040204020203" pitchFamily="34" charset="0"/>
                        </a:rPr>
                        <a:t> </a:t>
                      </a:r>
                      <a:r>
                        <a:rPr lang="en-US" sz="1370" b="0" baseline="0" dirty="0" smtClean="0">
                          <a:latin typeface="Segoe UI Semibold" panose="020B0702040204020203" pitchFamily="34" charset="0"/>
                        </a:rPr>
                        <a:t>Studio Premium </a:t>
                      </a:r>
                      <a:r>
                        <a:rPr lang="en-US" sz="1370" b="0" baseline="0" dirty="0" smtClean="0">
                          <a:latin typeface="Segoe UI Semibold" panose="020B0702040204020203" pitchFamily="34" charset="0"/>
                        </a:rPr>
                        <a:t>with MSDN</a:t>
                      </a:r>
                      <a:endParaRPr lang="en-US" sz="1370" b="0" dirty="0">
                        <a:latin typeface="Segoe UI Semibold" panose="020B0702040204020203" pitchFamily="34" charset="0"/>
                      </a:endParaRPr>
                    </a:p>
                  </a:txBody>
                  <a:tcPr marL="26893" marR="26893" marT="44821" marB="44821"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algn="ctr"/>
                      <a:r>
                        <a:rPr lang="en-IN" sz="1370" b="0" dirty="0" smtClean="0">
                          <a:latin typeface="Segoe UI Semibold" panose="020B0702040204020203" pitchFamily="34" charset="0"/>
                        </a:rPr>
                        <a:t>Visual Studio </a:t>
                      </a:r>
                      <a:r>
                        <a:rPr lang="en-IN" sz="1370" b="0" dirty="0" smtClean="0">
                          <a:latin typeface="Segoe UI Semibold" panose="020B0702040204020203" pitchFamily="34" charset="0"/>
                        </a:rPr>
                        <a:t>Ultimate </a:t>
                      </a:r>
                      <a:r>
                        <a:rPr lang="en-IN" sz="1370" b="0" dirty="0" smtClean="0">
                          <a:latin typeface="Segoe UI Semibold" panose="020B0702040204020203" pitchFamily="34" charset="0"/>
                        </a:rPr>
                        <a:t>with MSDN</a:t>
                      </a:r>
                    </a:p>
                  </a:txBody>
                  <a:tcPr marL="26893" marR="26893" marT="44821" marB="44821"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2"/>
                    </a:solidFill>
                  </a:tcPr>
                </a:tc>
              </a:tr>
              <a:tr h="298808">
                <a:tc>
                  <a:txBody>
                    <a:bodyPr/>
                    <a:lstStyle/>
                    <a:p>
                      <a:r>
                        <a:rPr lang="en-US" sz="1370" dirty="0" smtClean="0">
                          <a:solidFill>
                            <a:schemeClr val="tx2"/>
                          </a:solidFill>
                          <a:latin typeface="+mn-lt"/>
                        </a:rPr>
                        <a:t>Azure</a:t>
                      </a:r>
                      <a:r>
                        <a:rPr lang="en-US" sz="1370" baseline="0" dirty="0" smtClean="0">
                          <a:solidFill>
                            <a:schemeClr val="tx2"/>
                          </a:solidFill>
                          <a:latin typeface="+mn-lt"/>
                        </a:rPr>
                        <a:t> </a:t>
                      </a:r>
                      <a:r>
                        <a:rPr lang="en-US" sz="1370" baseline="0" dirty="0" smtClean="0">
                          <a:solidFill>
                            <a:schemeClr val="tx2"/>
                          </a:solidFill>
                          <a:latin typeface="+mn-lt"/>
                        </a:rPr>
                        <a:t>credits </a:t>
                      </a:r>
                      <a:r>
                        <a:rPr lang="en-US" sz="1370" baseline="0" dirty="0" smtClean="0">
                          <a:solidFill>
                            <a:schemeClr val="tx2"/>
                          </a:solidFill>
                          <a:latin typeface="+mn-lt"/>
                        </a:rPr>
                        <a:t>included per month</a:t>
                      </a:r>
                      <a:endParaRPr lang="en-US" sz="1370" dirty="0">
                        <a:solidFill>
                          <a:schemeClr val="tx2"/>
                        </a:solidFill>
                        <a:latin typeface="+mn-lt"/>
                      </a:endParaRPr>
                    </a:p>
                  </a:txBody>
                  <a:tcPr marL="44821" marR="44821" marT="44821" marB="44821"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1370" dirty="0" smtClean="0">
                          <a:solidFill>
                            <a:schemeClr val="tx2"/>
                          </a:solidFill>
                          <a:latin typeface="+mn-lt"/>
                        </a:rPr>
                        <a:t>$50</a:t>
                      </a:r>
                      <a:endParaRPr lang="en-US" sz="1370" dirty="0">
                        <a:solidFill>
                          <a:schemeClr val="tx2"/>
                        </a:solidFill>
                        <a:latin typeface="+mn-lt"/>
                      </a:endParaRPr>
                    </a:p>
                  </a:txBody>
                  <a:tcPr marL="44821" marR="44821"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370" dirty="0" smtClean="0">
                          <a:solidFill>
                            <a:schemeClr val="tx2"/>
                          </a:solidFill>
                          <a:latin typeface="+mn-lt"/>
                        </a:rPr>
                        <a:t>$50</a:t>
                      </a:r>
                    </a:p>
                  </a:txBody>
                  <a:tcPr marL="44821" marR="44821"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370" dirty="0" smtClean="0">
                          <a:solidFill>
                            <a:schemeClr val="tx2"/>
                          </a:solidFill>
                          <a:latin typeface="+mn-lt"/>
                        </a:rPr>
                        <a:t>$100</a:t>
                      </a:r>
                    </a:p>
                  </a:txBody>
                  <a:tcPr marL="44821" marR="44821"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370" dirty="0" smtClean="0">
                          <a:solidFill>
                            <a:schemeClr val="tx2"/>
                          </a:solidFill>
                          <a:latin typeface="+mn-lt"/>
                        </a:rPr>
                        <a:t>$100</a:t>
                      </a:r>
                    </a:p>
                  </a:txBody>
                  <a:tcPr marL="44821" marR="44821"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370" dirty="0" smtClean="0">
                          <a:solidFill>
                            <a:schemeClr val="tx2"/>
                          </a:solidFill>
                          <a:latin typeface="+mn-lt"/>
                        </a:rPr>
                        <a:t>$150</a:t>
                      </a:r>
                    </a:p>
                  </a:txBody>
                  <a:tcPr marL="44821" marR="44821" marT="44821" marB="44821"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298808">
                <a:tc>
                  <a:txBody>
                    <a:bodyPr/>
                    <a:lstStyle/>
                    <a:p>
                      <a:r>
                        <a:rPr lang="en-US" sz="1370" dirty="0" smtClean="0">
                          <a:solidFill>
                            <a:schemeClr val="tx2"/>
                          </a:solidFill>
                          <a:latin typeface="+mn-lt"/>
                        </a:rPr>
                        <a:t>Annual </a:t>
                      </a:r>
                      <a:r>
                        <a:rPr lang="en-US" sz="1370" dirty="0" smtClean="0">
                          <a:solidFill>
                            <a:schemeClr val="tx2"/>
                          </a:solidFill>
                          <a:latin typeface="+mn-lt"/>
                        </a:rPr>
                        <a:t>savings </a:t>
                      </a:r>
                      <a:r>
                        <a:rPr lang="en-US" sz="1370" dirty="0" smtClean="0">
                          <a:solidFill>
                            <a:schemeClr val="tx2"/>
                          </a:solidFill>
                          <a:latin typeface="+mn-lt"/>
                        </a:rPr>
                        <a:t>first </a:t>
                      </a:r>
                      <a:r>
                        <a:rPr lang="en-US" sz="1370" dirty="0" smtClean="0">
                          <a:solidFill>
                            <a:schemeClr val="tx2"/>
                          </a:solidFill>
                          <a:latin typeface="+mn-lt"/>
                        </a:rPr>
                        <a:t>year</a:t>
                      </a:r>
                      <a:endParaRPr lang="en-US" sz="1370" baseline="30000" dirty="0">
                        <a:solidFill>
                          <a:schemeClr val="tx2"/>
                        </a:solidFill>
                        <a:latin typeface="+mn-lt"/>
                      </a:endParaRPr>
                    </a:p>
                  </a:txBody>
                  <a:tcPr marL="44821" marR="44821" marT="44821" marB="44821" anchor="ctr">
                    <a:lnL w="6350" cap="flat" cmpd="sng" algn="ctr">
                      <a:no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370" dirty="0" smtClean="0">
                          <a:solidFill>
                            <a:schemeClr val="tx2"/>
                          </a:solidFill>
                          <a:latin typeface="+mn-lt"/>
                        </a:rPr>
                        <a:t>$600+</a:t>
                      </a:r>
                    </a:p>
                  </a:txBody>
                  <a:tcPr marL="44821" marR="44821"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370" dirty="0" smtClean="0">
                          <a:solidFill>
                            <a:schemeClr val="tx2"/>
                          </a:solidFill>
                          <a:latin typeface="+mn-lt"/>
                        </a:rPr>
                        <a:t>$600+</a:t>
                      </a:r>
                    </a:p>
                  </a:txBody>
                  <a:tcPr marL="44821" marR="44821"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370" dirty="0" smtClean="0">
                          <a:solidFill>
                            <a:schemeClr val="tx2"/>
                          </a:solidFill>
                          <a:latin typeface="+mn-lt"/>
                        </a:rPr>
                        <a:t>$1,200+</a:t>
                      </a:r>
                    </a:p>
                  </a:txBody>
                  <a:tcPr marL="44821" marR="44821"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370" dirty="0" smtClean="0">
                          <a:solidFill>
                            <a:schemeClr val="tx2"/>
                          </a:solidFill>
                          <a:latin typeface="+mn-lt"/>
                        </a:rPr>
                        <a:t>$1,200+</a:t>
                      </a:r>
                    </a:p>
                  </a:txBody>
                  <a:tcPr marL="44821" marR="44821" marT="44821" marB="44821"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ctr" defTabSz="932742" rtl="0" eaLnBrk="1" fontAlgn="auto" latinLnBrk="0" hangingPunct="1">
                        <a:lnSpc>
                          <a:spcPct val="100000"/>
                        </a:lnSpc>
                        <a:spcBef>
                          <a:spcPts val="0"/>
                        </a:spcBef>
                        <a:spcAft>
                          <a:spcPts val="0"/>
                        </a:spcAft>
                        <a:buClrTx/>
                        <a:buSzTx/>
                        <a:buFontTx/>
                        <a:buNone/>
                        <a:tabLst/>
                        <a:defRPr/>
                      </a:pPr>
                      <a:r>
                        <a:rPr lang="en-US" sz="1370" dirty="0" smtClean="0">
                          <a:solidFill>
                            <a:schemeClr val="tx2"/>
                          </a:solidFill>
                          <a:latin typeface="+mn-lt"/>
                        </a:rPr>
                        <a:t>$1,800+</a:t>
                      </a:r>
                    </a:p>
                  </a:txBody>
                  <a:tcPr marL="44821" marR="44821" marT="44821" marB="44821" anchor="ctr">
                    <a:lnL w="6350" cap="flat" cmpd="sng" algn="ctr">
                      <a:solidFill>
                        <a:schemeClr val="bg1">
                          <a:lumMod val="75000"/>
                        </a:schemeClr>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07974">
                <a:tc gridSpan="6">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370" dirty="0" smtClean="0">
                          <a:solidFill>
                            <a:schemeClr val="tx2"/>
                          </a:solidFill>
                          <a:latin typeface="+mn-lt"/>
                        </a:rPr>
                        <a:t>Estimated</a:t>
                      </a:r>
                      <a:r>
                        <a:rPr lang="en-US" sz="1370" baseline="0" dirty="0" smtClean="0">
                          <a:solidFill>
                            <a:schemeClr val="tx2"/>
                          </a:solidFill>
                          <a:latin typeface="+mn-lt"/>
                        </a:rPr>
                        <a:t> </a:t>
                      </a:r>
                      <a:r>
                        <a:rPr lang="en-US" sz="1370" baseline="0" dirty="0" smtClean="0">
                          <a:solidFill>
                            <a:schemeClr val="tx2"/>
                          </a:solidFill>
                          <a:latin typeface="+mn-lt"/>
                        </a:rPr>
                        <a:t>saving only includes the monthly credits </a:t>
                      </a:r>
                      <a:r>
                        <a:rPr lang="en-US" sz="1370" baseline="0" dirty="0" smtClean="0">
                          <a:solidFill>
                            <a:schemeClr val="tx2"/>
                          </a:solidFill>
                          <a:latin typeface="+mn-lt"/>
                        </a:rPr>
                        <a:t>provided </a:t>
                      </a:r>
                      <a:r>
                        <a:rPr lang="en-US" sz="1370" baseline="0" dirty="0" smtClean="0">
                          <a:solidFill>
                            <a:schemeClr val="tx2"/>
                          </a:solidFill>
                          <a:latin typeface="+mn-lt"/>
                        </a:rPr>
                        <a:t>and does not include any savings from the discounts and the use of </a:t>
                      </a:r>
                      <a:br>
                        <a:rPr lang="en-US" sz="1370" baseline="0" dirty="0" smtClean="0">
                          <a:solidFill>
                            <a:schemeClr val="tx2"/>
                          </a:solidFill>
                          <a:latin typeface="+mn-lt"/>
                        </a:rPr>
                      </a:br>
                      <a:r>
                        <a:rPr lang="en-US" sz="1370" baseline="0" dirty="0" smtClean="0">
                          <a:solidFill>
                            <a:schemeClr val="tx2"/>
                          </a:solidFill>
                          <a:latin typeface="+mn-lt"/>
                        </a:rPr>
                        <a:t>MSDN software. Actual savings can be much higher</a:t>
                      </a:r>
                      <a:r>
                        <a:rPr lang="en-US" sz="1370" baseline="0" dirty="0" smtClean="0">
                          <a:solidFill>
                            <a:schemeClr val="tx2"/>
                          </a:solidFill>
                          <a:latin typeface="+mn-lt"/>
                        </a:rPr>
                        <a:t>.  All prices indicated are for the United States as of the publish date.  Check local prices.</a:t>
                      </a:r>
                      <a:endParaRPr lang="en-US" sz="1370" dirty="0" smtClean="0">
                        <a:solidFill>
                          <a:schemeClr val="tx2"/>
                        </a:solidFill>
                        <a:latin typeface="+mn-lt"/>
                      </a:endParaRPr>
                    </a:p>
                  </a:txBody>
                  <a:tcPr marL="44821" marR="44821" marT="44821" marB="44821"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dirty="0"/>
                    </a:p>
                  </a:txBody>
                  <a:tcPr/>
                </a:tc>
              </a:tr>
            </a:tbl>
          </a:graphicData>
        </a:graphic>
      </p:graphicFrame>
      <p:sp>
        <p:nvSpPr>
          <p:cNvPr id="10" name="Content Placeholder 4"/>
          <p:cNvSpPr txBox="1">
            <a:spLocks/>
          </p:cNvSpPr>
          <p:nvPr/>
        </p:nvSpPr>
        <p:spPr>
          <a:xfrm>
            <a:off x="449770" y="3472805"/>
            <a:ext cx="11286237" cy="576965"/>
          </a:xfrm>
          <a:prstGeom prst="rect">
            <a:avLst/>
          </a:prstGeom>
          <a:solidFill>
            <a:schemeClr val="bg1">
              <a:lumMod val="95000"/>
            </a:schemeClr>
          </a:solidFill>
        </p:spPr>
        <p:txBody>
          <a:bodyPr wrap="square" lIns="672319" tIns="44821" rIns="89642" bIns="44821" anchor="ct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Font typeface="Arial" pitchFamily="34" charset="0"/>
              <a:buNone/>
            </a:pPr>
            <a:r>
              <a:rPr lang="en-US" sz="1372" dirty="0">
                <a:solidFill>
                  <a:srgbClr val="505050"/>
                </a:solidFill>
                <a:latin typeface="Segoe UI Semibold" panose="020B0702040204020203" pitchFamily="34" charset="0"/>
              </a:rPr>
              <a:t>Enjoy lower rates </a:t>
            </a:r>
            <a:r>
              <a:rPr lang="en-US" sz="1372" dirty="0" smtClean="0">
                <a:solidFill>
                  <a:srgbClr val="505050"/>
                </a:solidFill>
                <a:latin typeface="Segoe UI"/>
              </a:rPr>
              <a:t>– 33 percent </a:t>
            </a:r>
            <a:r>
              <a:rPr lang="en-US" sz="1372" dirty="0">
                <a:solidFill>
                  <a:srgbClr val="505050"/>
                </a:solidFill>
                <a:latin typeface="Segoe UI"/>
              </a:rPr>
              <a:t>discount on Windows </a:t>
            </a:r>
            <a:r>
              <a:rPr lang="en-US" sz="1372" dirty="0" smtClean="0">
                <a:solidFill>
                  <a:srgbClr val="505050"/>
                </a:solidFill>
                <a:latin typeface="Segoe UI"/>
              </a:rPr>
              <a:t>virtual machines and 25 percent discount </a:t>
            </a:r>
            <a:r>
              <a:rPr lang="en-US" sz="1372" dirty="0">
                <a:solidFill>
                  <a:srgbClr val="505050"/>
                </a:solidFill>
                <a:latin typeface="Segoe UI"/>
              </a:rPr>
              <a:t>on Cloud Services, HDInsight, and </a:t>
            </a:r>
            <a:r>
              <a:rPr lang="en-US" sz="1372" dirty="0" smtClean="0">
                <a:solidFill>
                  <a:srgbClr val="505050"/>
                </a:solidFill>
                <a:latin typeface="Segoe UI"/>
              </a:rPr>
              <a:t>reserved websites</a:t>
            </a:r>
            <a:endParaRPr lang="en-US" sz="1372" dirty="0">
              <a:solidFill>
                <a:srgbClr val="505050"/>
              </a:solidFill>
              <a:latin typeface="Segoe UI"/>
            </a:endParaRPr>
          </a:p>
        </p:txBody>
      </p:sp>
      <p:sp>
        <p:nvSpPr>
          <p:cNvPr id="12" name="Content Placeholder 4"/>
          <p:cNvSpPr txBox="1">
            <a:spLocks/>
          </p:cNvSpPr>
          <p:nvPr/>
        </p:nvSpPr>
        <p:spPr>
          <a:xfrm>
            <a:off x="449770" y="4088639"/>
            <a:ext cx="11286237" cy="576965"/>
          </a:xfrm>
          <a:prstGeom prst="rect">
            <a:avLst/>
          </a:prstGeom>
          <a:solidFill>
            <a:schemeClr val="bg1">
              <a:lumMod val="95000"/>
            </a:schemeClr>
          </a:solidFill>
        </p:spPr>
        <p:txBody>
          <a:bodyPr wrap="square" lIns="672319" tIns="44821" rIns="89642" bIns="44821" anchor="ct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Font typeface="Arial" pitchFamily="34" charset="0"/>
              <a:buNone/>
            </a:pPr>
            <a:r>
              <a:rPr lang="en-US" sz="1372" dirty="0">
                <a:solidFill>
                  <a:srgbClr val="505050"/>
                </a:solidFill>
                <a:latin typeface="Segoe UI Semibold" panose="020B0702040204020203" pitchFamily="34" charset="0"/>
              </a:rPr>
              <a:t>No additional charge </a:t>
            </a:r>
            <a:r>
              <a:rPr lang="en-US" sz="1372" dirty="0">
                <a:solidFill>
                  <a:srgbClr val="505050"/>
                </a:solidFill>
                <a:latin typeface="Segoe UI"/>
              </a:rPr>
              <a:t>for MSDN software in </a:t>
            </a:r>
            <a:r>
              <a:rPr lang="en-US" sz="1372" dirty="0" smtClean="0">
                <a:solidFill>
                  <a:srgbClr val="505050"/>
                </a:solidFill>
                <a:latin typeface="Segoe UI"/>
              </a:rPr>
              <a:t>virtual hard disks customers upload</a:t>
            </a:r>
            <a:endParaRPr lang="en-US" sz="1372" dirty="0">
              <a:solidFill>
                <a:srgbClr val="505050"/>
              </a:solidFill>
              <a:latin typeface="Segoe UI"/>
            </a:endParaRPr>
          </a:p>
        </p:txBody>
      </p:sp>
      <p:sp>
        <p:nvSpPr>
          <p:cNvPr id="13" name="Content Placeholder 4"/>
          <p:cNvSpPr txBox="1">
            <a:spLocks/>
          </p:cNvSpPr>
          <p:nvPr/>
        </p:nvSpPr>
        <p:spPr>
          <a:xfrm>
            <a:off x="449770" y="5936141"/>
            <a:ext cx="11286237" cy="576965"/>
          </a:xfrm>
          <a:prstGeom prst="rect">
            <a:avLst/>
          </a:prstGeom>
          <a:solidFill>
            <a:schemeClr val="bg1">
              <a:lumMod val="95000"/>
            </a:schemeClr>
          </a:solidFill>
        </p:spPr>
        <p:txBody>
          <a:bodyPr wrap="square" lIns="672319" tIns="44821" rIns="89642" bIns="44821" anchor="ct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None/>
            </a:pPr>
            <a:r>
              <a:rPr lang="en-US" sz="1372" dirty="0">
                <a:solidFill>
                  <a:srgbClr val="505050"/>
                </a:solidFill>
                <a:latin typeface="Segoe UI"/>
              </a:rPr>
              <a:t>http://azure.microsoft.com/en-us/pricing/member-offers/msdn-benefits-details/</a:t>
            </a:r>
            <a:endParaRPr lang="en-US" sz="1372" dirty="0">
              <a:solidFill>
                <a:srgbClr val="505050"/>
              </a:solidFill>
              <a:latin typeface="Segoe UI"/>
            </a:endParaRPr>
          </a:p>
        </p:txBody>
      </p:sp>
      <p:sp>
        <p:nvSpPr>
          <p:cNvPr id="14" name="Content Placeholder 4"/>
          <p:cNvSpPr txBox="1">
            <a:spLocks/>
          </p:cNvSpPr>
          <p:nvPr/>
        </p:nvSpPr>
        <p:spPr>
          <a:xfrm>
            <a:off x="449770" y="4704472"/>
            <a:ext cx="11286237" cy="576965"/>
          </a:xfrm>
          <a:prstGeom prst="rect">
            <a:avLst/>
          </a:prstGeom>
          <a:solidFill>
            <a:schemeClr val="bg1">
              <a:lumMod val="95000"/>
            </a:schemeClr>
          </a:solidFill>
        </p:spPr>
        <p:txBody>
          <a:bodyPr wrap="square" lIns="672319" tIns="44821" rIns="89642" bIns="44821" anchor="ct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Font typeface="Arial" pitchFamily="34" charset="0"/>
              <a:buNone/>
            </a:pPr>
            <a:r>
              <a:rPr lang="en-US" sz="1372" dirty="0">
                <a:solidFill>
                  <a:srgbClr val="505050"/>
                </a:solidFill>
                <a:latin typeface="Segoe UI Semibold" panose="020B0702040204020203" pitchFamily="34" charset="0"/>
              </a:rPr>
              <a:t>Support for organizational accounts </a:t>
            </a:r>
            <a:r>
              <a:rPr lang="en-US" sz="1372" dirty="0">
                <a:solidFill>
                  <a:srgbClr val="505050"/>
                </a:solidFill>
                <a:latin typeface="Segoe UI"/>
              </a:rPr>
              <a:t>- flexibility to transfer Azure account services and benefits between different employees of the same organization</a:t>
            </a:r>
          </a:p>
        </p:txBody>
      </p:sp>
      <p:sp>
        <p:nvSpPr>
          <p:cNvPr id="15" name="Content Placeholder 4"/>
          <p:cNvSpPr txBox="1">
            <a:spLocks/>
          </p:cNvSpPr>
          <p:nvPr/>
        </p:nvSpPr>
        <p:spPr>
          <a:xfrm>
            <a:off x="449770" y="5320307"/>
            <a:ext cx="11286237" cy="576965"/>
          </a:xfrm>
          <a:prstGeom prst="rect">
            <a:avLst/>
          </a:prstGeom>
          <a:solidFill>
            <a:schemeClr val="bg1">
              <a:lumMod val="95000"/>
            </a:schemeClr>
          </a:solidFill>
        </p:spPr>
        <p:txBody>
          <a:bodyPr wrap="square" lIns="672319" tIns="44821" rIns="89642" bIns="44821" anchor="ctr">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buFont typeface="Arial" pitchFamily="34" charset="0"/>
              <a:buNone/>
            </a:pPr>
            <a:r>
              <a:rPr lang="en-US" sz="1372" dirty="0">
                <a:solidFill>
                  <a:srgbClr val="505050"/>
                </a:solidFill>
                <a:latin typeface="Segoe UI Semibold" panose="020B0702040204020203" pitchFamily="34" charset="0"/>
              </a:rPr>
              <a:t>Enable </a:t>
            </a:r>
            <a:r>
              <a:rPr lang="en-US" sz="1372" dirty="0" smtClean="0">
                <a:solidFill>
                  <a:srgbClr val="505050"/>
                </a:solidFill>
                <a:latin typeface="Segoe UI Semibold" panose="020B0702040204020203" pitchFamily="34" charset="0"/>
              </a:rPr>
              <a:t>team development </a:t>
            </a:r>
            <a:r>
              <a:rPr lang="en-US" sz="1372" dirty="0">
                <a:solidFill>
                  <a:srgbClr val="505050"/>
                </a:solidFill>
                <a:latin typeface="Segoe UI"/>
              </a:rPr>
              <a:t>- allow team members to share the same subscription, enabling collaboration while also providing isolation between teams and environment</a:t>
            </a:r>
          </a:p>
        </p:txBody>
      </p:sp>
      <p:grpSp>
        <p:nvGrpSpPr>
          <p:cNvPr id="11" name="Group 10"/>
          <p:cNvGrpSpPr/>
          <p:nvPr/>
        </p:nvGrpSpPr>
        <p:grpSpPr>
          <a:xfrm>
            <a:off x="535117" y="3632166"/>
            <a:ext cx="420154" cy="2792549"/>
            <a:chOff x="705440" y="3509754"/>
            <a:chExt cx="428579" cy="2848545"/>
          </a:xfrm>
        </p:grpSpPr>
        <p:grpSp>
          <p:nvGrpSpPr>
            <p:cNvPr id="28" name="Group 27"/>
            <p:cNvGrpSpPr/>
            <p:nvPr/>
          </p:nvGrpSpPr>
          <p:grpSpPr>
            <a:xfrm>
              <a:off x="705440" y="4693727"/>
              <a:ext cx="408208" cy="408206"/>
              <a:chOff x="3382517" y="921756"/>
              <a:chExt cx="1297060" cy="1297060"/>
            </a:xfrm>
            <a:solidFill>
              <a:schemeClr val="accent3"/>
            </a:solidFill>
          </p:grpSpPr>
          <p:sp>
            <p:nvSpPr>
              <p:cNvPr id="29" name="Donut 28"/>
              <p:cNvSpPr/>
              <p:nvPr/>
            </p:nvSpPr>
            <p:spPr>
              <a:xfrm>
                <a:off x="3382517" y="921756"/>
                <a:ext cx="1297060" cy="1297060"/>
              </a:xfrm>
              <a:prstGeom prst="donut">
                <a:avLst>
                  <a:gd name="adj" fmla="val 6628"/>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67"/>
                <a:endParaRPr lang="en-US" sz="1961" dirty="0">
                  <a:solidFill>
                    <a:srgbClr val="000000"/>
                  </a:solidFill>
                </a:endParaRPr>
              </a:p>
            </p:txBody>
          </p:sp>
          <p:grpSp>
            <p:nvGrpSpPr>
              <p:cNvPr id="30" name="Group 29"/>
              <p:cNvGrpSpPr/>
              <p:nvPr/>
            </p:nvGrpSpPr>
            <p:grpSpPr>
              <a:xfrm>
                <a:off x="3658638" y="1160016"/>
                <a:ext cx="778652" cy="904785"/>
                <a:chOff x="3553230" y="570730"/>
                <a:chExt cx="4338290" cy="5041022"/>
              </a:xfrm>
              <a:grpFill/>
            </p:grpSpPr>
            <p:sp>
              <p:nvSpPr>
                <p:cNvPr id="31" name="Donut 15"/>
                <p:cNvSpPr/>
                <p:nvPr/>
              </p:nvSpPr>
              <p:spPr>
                <a:xfrm>
                  <a:off x="3956364" y="3616445"/>
                  <a:ext cx="1146150" cy="1065703"/>
                </a:xfrm>
                <a:custGeom>
                  <a:avLst/>
                  <a:gdLst/>
                  <a:ahLst/>
                  <a:cxnLst/>
                  <a:rect l="l" t="t" r="r" b="b"/>
                  <a:pathLst>
                    <a:path w="1146150" h="1065703">
                      <a:moveTo>
                        <a:pt x="567201" y="212003"/>
                      </a:moveTo>
                      <a:cubicBezTo>
                        <a:pt x="389110" y="212003"/>
                        <a:pt x="244738" y="356453"/>
                        <a:pt x="244738" y="534640"/>
                      </a:cubicBezTo>
                      <a:cubicBezTo>
                        <a:pt x="244738" y="712827"/>
                        <a:pt x="389110" y="857277"/>
                        <a:pt x="567201" y="857277"/>
                      </a:cubicBezTo>
                      <a:cubicBezTo>
                        <a:pt x="745292" y="857277"/>
                        <a:pt x="889664" y="712827"/>
                        <a:pt x="889664" y="534640"/>
                      </a:cubicBezTo>
                      <a:cubicBezTo>
                        <a:pt x="889664" y="356453"/>
                        <a:pt x="745292" y="212003"/>
                        <a:pt x="567201" y="212003"/>
                      </a:cubicBezTo>
                      <a:close/>
                      <a:moveTo>
                        <a:pt x="750937" y="1965"/>
                      </a:moveTo>
                      <a:cubicBezTo>
                        <a:pt x="761920" y="-1389"/>
                        <a:pt x="774183" y="-554"/>
                        <a:pt x="785123" y="5267"/>
                      </a:cubicBezTo>
                      <a:lnTo>
                        <a:pt x="867343" y="49014"/>
                      </a:lnTo>
                      <a:cubicBezTo>
                        <a:pt x="889221" y="60655"/>
                        <a:pt x="897520" y="87828"/>
                        <a:pt x="885879" y="109707"/>
                      </a:cubicBezTo>
                      <a:lnTo>
                        <a:pt x="839281" y="197285"/>
                      </a:lnTo>
                      <a:cubicBezTo>
                        <a:pt x="904218" y="248116"/>
                        <a:pt x="953621" y="317443"/>
                        <a:pt x="977763" y="398138"/>
                      </a:cubicBezTo>
                      <a:lnTo>
                        <a:pt x="1077621" y="380769"/>
                      </a:lnTo>
                      <a:cubicBezTo>
                        <a:pt x="1102038" y="376523"/>
                        <a:pt x="1125273" y="392873"/>
                        <a:pt x="1129520" y="417289"/>
                      </a:cubicBezTo>
                      <a:lnTo>
                        <a:pt x="1145479" y="509046"/>
                      </a:lnTo>
                      <a:cubicBezTo>
                        <a:pt x="1149726" y="533462"/>
                        <a:pt x="1133376" y="556698"/>
                        <a:pt x="1108959" y="560944"/>
                      </a:cubicBezTo>
                      <a:lnTo>
                        <a:pt x="997858" y="580268"/>
                      </a:lnTo>
                      <a:cubicBezTo>
                        <a:pt x="988900" y="675147"/>
                        <a:pt x="949134" y="760933"/>
                        <a:pt x="887371" y="826544"/>
                      </a:cubicBezTo>
                      <a:lnTo>
                        <a:pt x="943982" y="908607"/>
                      </a:lnTo>
                      <a:cubicBezTo>
                        <a:pt x="958055" y="929006"/>
                        <a:pt x="952926" y="956951"/>
                        <a:pt x="932527" y="971024"/>
                      </a:cubicBezTo>
                      <a:lnTo>
                        <a:pt x="855865" y="1023910"/>
                      </a:lnTo>
                      <a:cubicBezTo>
                        <a:pt x="835465" y="1037983"/>
                        <a:pt x="807520" y="1032854"/>
                        <a:pt x="793447" y="1012454"/>
                      </a:cubicBezTo>
                      <a:lnTo>
                        <a:pt x="739069" y="933629"/>
                      </a:lnTo>
                      <a:cubicBezTo>
                        <a:pt x="686687" y="957426"/>
                        <a:pt x="628420" y="970069"/>
                        <a:pt x="567201" y="970069"/>
                      </a:cubicBezTo>
                      <a:cubicBezTo>
                        <a:pt x="530761" y="970069"/>
                        <a:pt x="495366" y="965589"/>
                        <a:pt x="461915" y="955643"/>
                      </a:cubicBezTo>
                      <a:lnTo>
                        <a:pt x="400579" y="1046024"/>
                      </a:lnTo>
                      <a:cubicBezTo>
                        <a:pt x="386663" y="1066531"/>
                        <a:pt x="358758" y="1071873"/>
                        <a:pt x="338251" y="1057956"/>
                      </a:cubicBezTo>
                      <a:lnTo>
                        <a:pt x="261187" y="1005658"/>
                      </a:lnTo>
                      <a:cubicBezTo>
                        <a:pt x="240681" y="991741"/>
                        <a:pt x="235339" y="963836"/>
                        <a:pt x="249255" y="943330"/>
                      </a:cubicBezTo>
                      <a:lnTo>
                        <a:pt x="295891" y="874611"/>
                      </a:lnTo>
                      <a:cubicBezTo>
                        <a:pt x="218676" y="813301"/>
                        <a:pt x="163119" y="726056"/>
                        <a:pt x="141932" y="626080"/>
                      </a:cubicBezTo>
                      <a:lnTo>
                        <a:pt x="44873" y="626080"/>
                      </a:lnTo>
                      <a:cubicBezTo>
                        <a:pt x="20090" y="626080"/>
                        <a:pt x="0" y="605990"/>
                        <a:pt x="0" y="581207"/>
                      </a:cubicBezTo>
                      <a:lnTo>
                        <a:pt x="0" y="488073"/>
                      </a:lnTo>
                      <a:cubicBezTo>
                        <a:pt x="0" y="463290"/>
                        <a:pt x="20090" y="443200"/>
                        <a:pt x="44873" y="443200"/>
                      </a:cubicBezTo>
                      <a:lnTo>
                        <a:pt x="141933" y="443200"/>
                      </a:lnTo>
                      <a:cubicBezTo>
                        <a:pt x="159897" y="358428"/>
                        <a:pt x="202573" y="282810"/>
                        <a:pt x="263111" y="225275"/>
                      </a:cubicBezTo>
                      <a:lnTo>
                        <a:pt x="204256" y="146400"/>
                      </a:lnTo>
                      <a:cubicBezTo>
                        <a:pt x="189435" y="126537"/>
                        <a:pt x="193522" y="98421"/>
                        <a:pt x="213385" y="83600"/>
                      </a:cubicBezTo>
                      <a:lnTo>
                        <a:pt x="288029" y="27902"/>
                      </a:lnTo>
                      <a:cubicBezTo>
                        <a:pt x="307892" y="13081"/>
                        <a:pt x="336008" y="17168"/>
                        <a:pt x="350829" y="37031"/>
                      </a:cubicBezTo>
                      <a:lnTo>
                        <a:pt x="417147" y="125909"/>
                      </a:lnTo>
                      <a:cubicBezTo>
                        <a:pt x="463890" y="108599"/>
                        <a:pt x="514450" y="99211"/>
                        <a:pt x="567201" y="99211"/>
                      </a:cubicBezTo>
                      <a:cubicBezTo>
                        <a:pt x="604953" y="99211"/>
                        <a:pt x="641582" y="104019"/>
                        <a:pt x="676101" y="114635"/>
                      </a:cubicBezTo>
                      <a:lnTo>
                        <a:pt x="724430" y="23803"/>
                      </a:lnTo>
                      <a:cubicBezTo>
                        <a:pt x="730251" y="12864"/>
                        <a:pt x="739954" y="5320"/>
                        <a:pt x="750937" y="196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67"/>
                  <a:endParaRPr lang="en-US" sz="1961" dirty="0">
                    <a:solidFill>
                      <a:srgbClr val="000000"/>
                    </a:solidFill>
                  </a:endParaRPr>
                </a:p>
              </p:txBody>
            </p:sp>
            <p:sp>
              <p:nvSpPr>
                <p:cNvPr id="32" name="Donut 28"/>
                <p:cNvSpPr/>
                <p:nvPr/>
              </p:nvSpPr>
              <p:spPr>
                <a:xfrm rot="20221914">
                  <a:off x="6221198" y="570730"/>
                  <a:ext cx="812157" cy="755155"/>
                </a:xfrm>
                <a:custGeom>
                  <a:avLst/>
                  <a:gdLst/>
                  <a:ahLst/>
                  <a:cxnLst/>
                  <a:rect l="l" t="t" r="r" b="b"/>
                  <a:pathLst>
                    <a:path w="812157" h="755155">
                      <a:moveTo>
                        <a:pt x="476237" y="202804"/>
                      </a:moveTo>
                      <a:cubicBezTo>
                        <a:pt x="453394" y="193136"/>
                        <a:pt x="428280" y="187790"/>
                        <a:pt x="401918" y="187790"/>
                      </a:cubicBezTo>
                      <a:cubicBezTo>
                        <a:pt x="296470" y="187790"/>
                        <a:pt x="210987" y="273328"/>
                        <a:pt x="210987" y="378844"/>
                      </a:cubicBezTo>
                      <a:cubicBezTo>
                        <a:pt x="210987" y="484360"/>
                        <a:pt x="296470" y="569898"/>
                        <a:pt x="401918" y="569898"/>
                      </a:cubicBezTo>
                      <a:cubicBezTo>
                        <a:pt x="507366" y="569898"/>
                        <a:pt x="592849" y="484360"/>
                        <a:pt x="592849" y="378844"/>
                      </a:cubicBezTo>
                      <a:cubicBezTo>
                        <a:pt x="592849" y="299707"/>
                        <a:pt x="544765" y="231808"/>
                        <a:pt x="476237" y="202804"/>
                      </a:cubicBezTo>
                      <a:close/>
                      <a:moveTo>
                        <a:pt x="556335" y="3732"/>
                      </a:moveTo>
                      <a:lnTo>
                        <a:pt x="614596" y="34731"/>
                      </a:lnTo>
                      <a:cubicBezTo>
                        <a:pt x="630099" y="42980"/>
                        <a:pt x="635980" y="62235"/>
                        <a:pt x="627731" y="77738"/>
                      </a:cubicBezTo>
                      <a:lnTo>
                        <a:pt x="594712" y="139794"/>
                      </a:lnTo>
                      <a:cubicBezTo>
                        <a:pt x="640727" y="175813"/>
                        <a:pt x="675734" y="224938"/>
                        <a:pt x="692841" y="282118"/>
                      </a:cubicBezTo>
                      <a:lnTo>
                        <a:pt x="763598" y="269812"/>
                      </a:lnTo>
                      <a:cubicBezTo>
                        <a:pt x="780899" y="266803"/>
                        <a:pt x="797364" y="278389"/>
                        <a:pt x="800373" y="295690"/>
                      </a:cubicBezTo>
                      <a:lnTo>
                        <a:pt x="811682" y="360708"/>
                      </a:lnTo>
                      <a:cubicBezTo>
                        <a:pt x="814691" y="378009"/>
                        <a:pt x="803105" y="394474"/>
                        <a:pt x="785804" y="397483"/>
                      </a:cubicBezTo>
                      <a:lnTo>
                        <a:pt x="707081" y="411175"/>
                      </a:lnTo>
                      <a:cubicBezTo>
                        <a:pt x="700733" y="478407"/>
                        <a:pt x="672555" y="539196"/>
                        <a:pt x="628788" y="585688"/>
                      </a:cubicBezTo>
                      <a:lnTo>
                        <a:pt x="668902" y="643837"/>
                      </a:lnTo>
                      <a:cubicBezTo>
                        <a:pt x="678874" y="658292"/>
                        <a:pt x="675240" y="678094"/>
                        <a:pt x="660785" y="688066"/>
                      </a:cubicBezTo>
                      <a:lnTo>
                        <a:pt x="606463" y="725540"/>
                      </a:lnTo>
                      <a:cubicBezTo>
                        <a:pt x="592007" y="735512"/>
                        <a:pt x="572206" y="731878"/>
                        <a:pt x="562234" y="717423"/>
                      </a:cubicBezTo>
                      <a:lnTo>
                        <a:pt x="523702" y="661568"/>
                      </a:lnTo>
                      <a:cubicBezTo>
                        <a:pt x="486584" y="678429"/>
                        <a:pt x="445297" y="687388"/>
                        <a:pt x="401918" y="687388"/>
                      </a:cubicBezTo>
                      <a:cubicBezTo>
                        <a:pt x="376096" y="687388"/>
                        <a:pt x="351015" y="684213"/>
                        <a:pt x="327312" y="677166"/>
                      </a:cubicBezTo>
                      <a:lnTo>
                        <a:pt x="283848" y="741211"/>
                      </a:lnTo>
                      <a:cubicBezTo>
                        <a:pt x="273987" y="755741"/>
                        <a:pt x="254214" y="759527"/>
                        <a:pt x="239683" y="749666"/>
                      </a:cubicBezTo>
                      <a:lnTo>
                        <a:pt x="185076" y="712607"/>
                      </a:lnTo>
                      <a:cubicBezTo>
                        <a:pt x="170545" y="702746"/>
                        <a:pt x="166759" y="682972"/>
                        <a:pt x="176621" y="668442"/>
                      </a:cubicBezTo>
                      <a:lnTo>
                        <a:pt x="209668" y="619746"/>
                      </a:lnTo>
                      <a:cubicBezTo>
                        <a:pt x="154953" y="576302"/>
                        <a:pt x="115586" y="514481"/>
                        <a:pt x="100574" y="443638"/>
                      </a:cubicBezTo>
                      <a:lnTo>
                        <a:pt x="31797" y="443638"/>
                      </a:lnTo>
                      <a:cubicBezTo>
                        <a:pt x="14236" y="443638"/>
                        <a:pt x="0" y="429402"/>
                        <a:pt x="0" y="411841"/>
                      </a:cubicBezTo>
                      <a:lnTo>
                        <a:pt x="0" y="345847"/>
                      </a:lnTo>
                      <a:cubicBezTo>
                        <a:pt x="0" y="328286"/>
                        <a:pt x="14236" y="314050"/>
                        <a:pt x="31797" y="314050"/>
                      </a:cubicBezTo>
                      <a:lnTo>
                        <a:pt x="100573" y="314050"/>
                      </a:lnTo>
                      <a:cubicBezTo>
                        <a:pt x="113303" y="253982"/>
                        <a:pt x="143543" y="200399"/>
                        <a:pt x="186439" y="159629"/>
                      </a:cubicBezTo>
                      <a:lnTo>
                        <a:pt x="144734" y="103738"/>
                      </a:lnTo>
                      <a:cubicBezTo>
                        <a:pt x="134232" y="89663"/>
                        <a:pt x="137128" y="69740"/>
                        <a:pt x="151203" y="59238"/>
                      </a:cubicBezTo>
                      <a:lnTo>
                        <a:pt x="204095" y="19771"/>
                      </a:lnTo>
                      <a:cubicBezTo>
                        <a:pt x="218169" y="9269"/>
                        <a:pt x="238093" y="12165"/>
                        <a:pt x="248595" y="26239"/>
                      </a:cubicBezTo>
                      <a:lnTo>
                        <a:pt x="295589" y="89219"/>
                      </a:lnTo>
                      <a:cubicBezTo>
                        <a:pt x="328711" y="76953"/>
                        <a:pt x="364538" y="70300"/>
                        <a:pt x="401918" y="70300"/>
                      </a:cubicBezTo>
                      <a:cubicBezTo>
                        <a:pt x="428668" y="70300"/>
                        <a:pt x="454623" y="73707"/>
                        <a:pt x="479084" y="81229"/>
                      </a:cubicBezTo>
                      <a:lnTo>
                        <a:pt x="513329" y="16867"/>
                      </a:lnTo>
                      <a:cubicBezTo>
                        <a:pt x="521578" y="1364"/>
                        <a:pt x="540833" y="-4517"/>
                        <a:pt x="556335" y="373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67"/>
                  <a:endParaRPr lang="en-US" sz="1961" dirty="0">
                    <a:solidFill>
                      <a:srgbClr val="000000"/>
                    </a:solidFill>
                  </a:endParaRPr>
                </a:p>
              </p:txBody>
            </p:sp>
            <p:sp>
              <p:nvSpPr>
                <p:cNvPr id="33" name="Donut 36"/>
                <p:cNvSpPr/>
                <p:nvPr/>
              </p:nvSpPr>
              <p:spPr>
                <a:xfrm rot="20260300">
                  <a:off x="6816207" y="1657630"/>
                  <a:ext cx="812158" cy="755155"/>
                </a:xfrm>
                <a:custGeom>
                  <a:avLst/>
                  <a:gdLst/>
                  <a:ahLst/>
                  <a:cxnLst/>
                  <a:rect l="l" t="t" r="r" b="b"/>
                  <a:pathLst>
                    <a:path w="812158" h="755155">
                      <a:moveTo>
                        <a:pt x="476236" y="202805"/>
                      </a:moveTo>
                      <a:cubicBezTo>
                        <a:pt x="453394" y="193137"/>
                        <a:pt x="428279" y="187791"/>
                        <a:pt x="401917" y="187791"/>
                      </a:cubicBezTo>
                      <a:cubicBezTo>
                        <a:pt x="296470" y="187791"/>
                        <a:pt x="210987" y="273329"/>
                        <a:pt x="210987" y="378845"/>
                      </a:cubicBezTo>
                      <a:cubicBezTo>
                        <a:pt x="210987" y="484361"/>
                        <a:pt x="296470" y="569899"/>
                        <a:pt x="401918" y="569899"/>
                      </a:cubicBezTo>
                      <a:cubicBezTo>
                        <a:pt x="507366" y="569899"/>
                        <a:pt x="592849" y="484361"/>
                        <a:pt x="592849" y="378845"/>
                      </a:cubicBezTo>
                      <a:cubicBezTo>
                        <a:pt x="592849" y="299708"/>
                        <a:pt x="544764" y="231809"/>
                        <a:pt x="476236" y="202805"/>
                      </a:cubicBezTo>
                      <a:close/>
                      <a:moveTo>
                        <a:pt x="556335" y="3732"/>
                      </a:moveTo>
                      <a:lnTo>
                        <a:pt x="614596" y="34731"/>
                      </a:lnTo>
                      <a:cubicBezTo>
                        <a:pt x="630099" y="42980"/>
                        <a:pt x="635980" y="62234"/>
                        <a:pt x="627731" y="77737"/>
                      </a:cubicBezTo>
                      <a:lnTo>
                        <a:pt x="594712" y="139795"/>
                      </a:lnTo>
                      <a:cubicBezTo>
                        <a:pt x="640726" y="175814"/>
                        <a:pt x="675734" y="224939"/>
                        <a:pt x="692841" y="282120"/>
                      </a:cubicBezTo>
                      <a:lnTo>
                        <a:pt x="763598" y="269813"/>
                      </a:lnTo>
                      <a:cubicBezTo>
                        <a:pt x="780900" y="266803"/>
                        <a:pt x="797365" y="278389"/>
                        <a:pt x="800374" y="295691"/>
                      </a:cubicBezTo>
                      <a:lnTo>
                        <a:pt x="811683" y="360708"/>
                      </a:lnTo>
                      <a:cubicBezTo>
                        <a:pt x="814692" y="378010"/>
                        <a:pt x="803106" y="394475"/>
                        <a:pt x="785804" y="397484"/>
                      </a:cubicBezTo>
                      <a:lnTo>
                        <a:pt x="707081" y="411176"/>
                      </a:lnTo>
                      <a:cubicBezTo>
                        <a:pt x="700733" y="478408"/>
                        <a:pt x="672554" y="539197"/>
                        <a:pt x="628788" y="585689"/>
                      </a:cubicBezTo>
                      <a:lnTo>
                        <a:pt x="668902" y="643837"/>
                      </a:lnTo>
                      <a:cubicBezTo>
                        <a:pt x="678874" y="658292"/>
                        <a:pt x="675239" y="678094"/>
                        <a:pt x="660785" y="688066"/>
                      </a:cubicBezTo>
                      <a:lnTo>
                        <a:pt x="606463" y="725540"/>
                      </a:lnTo>
                      <a:cubicBezTo>
                        <a:pt x="592007" y="735512"/>
                        <a:pt x="572205" y="731878"/>
                        <a:pt x="562233" y="717423"/>
                      </a:cubicBezTo>
                      <a:lnTo>
                        <a:pt x="523702" y="661569"/>
                      </a:lnTo>
                      <a:cubicBezTo>
                        <a:pt x="486584" y="678430"/>
                        <a:pt x="445297" y="687389"/>
                        <a:pt x="401918" y="687389"/>
                      </a:cubicBezTo>
                      <a:cubicBezTo>
                        <a:pt x="376096" y="687389"/>
                        <a:pt x="351015" y="684214"/>
                        <a:pt x="327311" y="677166"/>
                      </a:cubicBezTo>
                      <a:lnTo>
                        <a:pt x="283848" y="741210"/>
                      </a:lnTo>
                      <a:cubicBezTo>
                        <a:pt x="273987" y="755741"/>
                        <a:pt x="254213" y="759527"/>
                        <a:pt x="239683" y="749666"/>
                      </a:cubicBezTo>
                      <a:lnTo>
                        <a:pt x="185076" y="712607"/>
                      </a:lnTo>
                      <a:cubicBezTo>
                        <a:pt x="170545" y="702746"/>
                        <a:pt x="166760" y="682972"/>
                        <a:pt x="176620" y="668441"/>
                      </a:cubicBezTo>
                      <a:lnTo>
                        <a:pt x="209667" y="619746"/>
                      </a:lnTo>
                      <a:cubicBezTo>
                        <a:pt x="154953" y="576302"/>
                        <a:pt x="115585" y="514481"/>
                        <a:pt x="100573" y="443638"/>
                      </a:cubicBezTo>
                      <a:lnTo>
                        <a:pt x="31797" y="443638"/>
                      </a:lnTo>
                      <a:cubicBezTo>
                        <a:pt x="14236" y="443638"/>
                        <a:pt x="0" y="429402"/>
                        <a:pt x="0" y="411841"/>
                      </a:cubicBezTo>
                      <a:lnTo>
                        <a:pt x="0" y="345847"/>
                      </a:lnTo>
                      <a:cubicBezTo>
                        <a:pt x="0" y="328286"/>
                        <a:pt x="14236" y="314050"/>
                        <a:pt x="31797" y="314050"/>
                      </a:cubicBezTo>
                      <a:lnTo>
                        <a:pt x="100573" y="314050"/>
                      </a:lnTo>
                      <a:cubicBezTo>
                        <a:pt x="113303" y="253982"/>
                        <a:pt x="143542" y="200399"/>
                        <a:pt x="186439" y="159630"/>
                      </a:cubicBezTo>
                      <a:lnTo>
                        <a:pt x="144734" y="103739"/>
                      </a:lnTo>
                      <a:cubicBezTo>
                        <a:pt x="134232" y="89664"/>
                        <a:pt x="137128" y="69741"/>
                        <a:pt x="151203" y="59239"/>
                      </a:cubicBezTo>
                      <a:lnTo>
                        <a:pt x="204095" y="19772"/>
                      </a:lnTo>
                      <a:cubicBezTo>
                        <a:pt x="218169" y="9270"/>
                        <a:pt x="238093" y="12166"/>
                        <a:pt x="248595" y="26240"/>
                      </a:cubicBezTo>
                      <a:lnTo>
                        <a:pt x="295588" y="89219"/>
                      </a:lnTo>
                      <a:cubicBezTo>
                        <a:pt x="328711" y="76953"/>
                        <a:pt x="364537" y="70301"/>
                        <a:pt x="401917" y="70301"/>
                      </a:cubicBezTo>
                      <a:cubicBezTo>
                        <a:pt x="428668" y="70301"/>
                        <a:pt x="454622" y="73708"/>
                        <a:pt x="479083" y="81230"/>
                      </a:cubicBezTo>
                      <a:lnTo>
                        <a:pt x="513329" y="16867"/>
                      </a:lnTo>
                      <a:cubicBezTo>
                        <a:pt x="521577" y="1364"/>
                        <a:pt x="540832" y="-4517"/>
                        <a:pt x="556335" y="3732"/>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67"/>
                  <a:endParaRPr lang="en-US" sz="1961" dirty="0">
                    <a:solidFill>
                      <a:srgbClr val="000000"/>
                    </a:solidFill>
                  </a:endParaRPr>
                </a:p>
              </p:txBody>
            </p:sp>
            <p:sp>
              <p:nvSpPr>
                <p:cNvPr id="34" name="Donut 15"/>
                <p:cNvSpPr/>
                <p:nvPr/>
              </p:nvSpPr>
              <p:spPr>
                <a:xfrm rot="20036216">
                  <a:off x="3553230" y="709716"/>
                  <a:ext cx="2521446" cy="2344470"/>
                </a:xfrm>
                <a:custGeom>
                  <a:avLst/>
                  <a:gdLst/>
                  <a:ahLst/>
                  <a:cxnLst/>
                  <a:rect l="l" t="t" r="r" b="b"/>
                  <a:pathLst>
                    <a:path w="1146150" h="1065703">
                      <a:moveTo>
                        <a:pt x="567201" y="212003"/>
                      </a:moveTo>
                      <a:cubicBezTo>
                        <a:pt x="389110" y="212003"/>
                        <a:pt x="244738" y="356453"/>
                        <a:pt x="244738" y="534640"/>
                      </a:cubicBezTo>
                      <a:cubicBezTo>
                        <a:pt x="244738" y="712827"/>
                        <a:pt x="389110" y="857277"/>
                        <a:pt x="567201" y="857277"/>
                      </a:cubicBezTo>
                      <a:cubicBezTo>
                        <a:pt x="745292" y="857277"/>
                        <a:pt x="889664" y="712827"/>
                        <a:pt x="889664" y="534640"/>
                      </a:cubicBezTo>
                      <a:cubicBezTo>
                        <a:pt x="889664" y="356453"/>
                        <a:pt x="745292" y="212003"/>
                        <a:pt x="567201" y="212003"/>
                      </a:cubicBezTo>
                      <a:close/>
                      <a:moveTo>
                        <a:pt x="750937" y="1965"/>
                      </a:moveTo>
                      <a:cubicBezTo>
                        <a:pt x="761920" y="-1389"/>
                        <a:pt x="774183" y="-554"/>
                        <a:pt x="785123" y="5267"/>
                      </a:cubicBezTo>
                      <a:lnTo>
                        <a:pt x="867343" y="49014"/>
                      </a:lnTo>
                      <a:cubicBezTo>
                        <a:pt x="889221" y="60655"/>
                        <a:pt x="897520" y="87828"/>
                        <a:pt x="885879" y="109707"/>
                      </a:cubicBezTo>
                      <a:lnTo>
                        <a:pt x="839281" y="197285"/>
                      </a:lnTo>
                      <a:cubicBezTo>
                        <a:pt x="904218" y="248116"/>
                        <a:pt x="953621" y="317443"/>
                        <a:pt x="977763" y="398138"/>
                      </a:cubicBezTo>
                      <a:lnTo>
                        <a:pt x="1077621" y="380769"/>
                      </a:lnTo>
                      <a:cubicBezTo>
                        <a:pt x="1102038" y="376523"/>
                        <a:pt x="1125273" y="392873"/>
                        <a:pt x="1129520" y="417289"/>
                      </a:cubicBezTo>
                      <a:lnTo>
                        <a:pt x="1145479" y="509046"/>
                      </a:lnTo>
                      <a:cubicBezTo>
                        <a:pt x="1149726" y="533462"/>
                        <a:pt x="1133376" y="556698"/>
                        <a:pt x="1108959" y="560944"/>
                      </a:cubicBezTo>
                      <a:lnTo>
                        <a:pt x="997858" y="580268"/>
                      </a:lnTo>
                      <a:cubicBezTo>
                        <a:pt x="988900" y="675147"/>
                        <a:pt x="949134" y="760933"/>
                        <a:pt x="887371" y="826544"/>
                      </a:cubicBezTo>
                      <a:lnTo>
                        <a:pt x="943982" y="908607"/>
                      </a:lnTo>
                      <a:cubicBezTo>
                        <a:pt x="958055" y="929006"/>
                        <a:pt x="952926" y="956951"/>
                        <a:pt x="932527" y="971024"/>
                      </a:cubicBezTo>
                      <a:lnTo>
                        <a:pt x="855865" y="1023910"/>
                      </a:lnTo>
                      <a:cubicBezTo>
                        <a:pt x="835465" y="1037983"/>
                        <a:pt x="807520" y="1032854"/>
                        <a:pt x="793447" y="1012454"/>
                      </a:cubicBezTo>
                      <a:lnTo>
                        <a:pt x="739069" y="933629"/>
                      </a:lnTo>
                      <a:cubicBezTo>
                        <a:pt x="686687" y="957426"/>
                        <a:pt x="628420" y="970069"/>
                        <a:pt x="567201" y="970069"/>
                      </a:cubicBezTo>
                      <a:cubicBezTo>
                        <a:pt x="530761" y="970069"/>
                        <a:pt x="495366" y="965589"/>
                        <a:pt x="461915" y="955643"/>
                      </a:cubicBezTo>
                      <a:lnTo>
                        <a:pt x="400579" y="1046024"/>
                      </a:lnTo>
                      <a:cubicBezTo>
                        <a:pt x="386663" y="1066531"/>
                        <a:pt x="358758" y="1071873"/>
                        <a:pt x="338251" y="1057956"/>
                      </a:cubicBezTo>
                      <a:lnTo>
                        <a:pt x="261187" y="1005658"/>
                      </a:lnTo>
                      <a:cubicBezTo>
                        <a:pt x="240681" y="991741"/>
                        <a:pt x="235339" y="963836"/>
                        <a:pt x="249255" y="943330"/>
                      </a:cubicBezTo>
                      <a:lnTo>
                        <a:pt x="295891" y="874611"/>
                      </a:lnTo>
                      <a:cubicBezTo>
                        <a:pt x="218676" y="813301"/>
                        <a:pt x="163119" y="726056"/>
                        <a:pt x="141932" y="626080"/>
                      </a:cubicBezTo>
                      <a:lnTo>
                        <a:pt x="44873" y="626080"/>
                      </a:lnTo>
                      <a:cubicBezTo>
                        <a:pt x="20090" y="626080"/>
                        <a:pt x="0" y="605990"/>
                        <a:pt x="0" y="581207"/>
                      </a:cubicBezTo>
                      <a:lnTo>
                        <a:pt x="0" y="488073"/>
                      </a:lnTo>
                      <a:cubicBezTo>
                        <a:pt x="0" y="463290"/>
                        <a:pt x="20090" y="443200"/>
                        <a:pt x="44873" y="443200"/>
                      </a:cubicBezTo>
                      <a:lnTo>
                        <a:pt x="141933" y="443200"/>
                      </a:lnTo>
                      <a:cubicBezTo>
                        <a:pt x="159897" y="358428"/>
                        <a:pt x="202573" y="282810"/>
                        <a:pt x="263111" y="225275"/>
                      </a:cubicBezTo>
                      <a:lnTo>
                        <a:pt x="204256" y="146400"/>
                      </a:lnTo>
                      <a:cubicBezTo>
                        <a:pt x="189435" y="126537"/>
                        <a:pt x="193522" y="98421"/>
                        <a:pt x="213385" y="83600"/>
                      </a:cubicBezTo>
                      <a:lnTo>
                        <a:pt x="288029" y="27902"/>
                      </a:lnTo>
                      <a:cubicBezTo>
                        <a:pt x="307892" y="13081"/>
                        <a:pt x="336008" y="17168"/>
                        <a:pt x="350829" y="37031"/>
                      </a:cubicBezTo>
                      <a:lnTo>
                        <a:pt x="417147" y="125909"/>
                      </a:lnTo>
                      <a:cubicBezTo>
                        <a:pt x="463890" y="108599"/>
                        <a:pt x="514450" y="99211"/>
                        <a:pt x="567201" y="99211"/>
                      </a:cubicBezTo>
                      <a:cubicBezTo>
                        <a:pt x="604953" y="99211"/>
                        <a:pt x="641582" y="104019"/>
                        <a:pt x="676101" y="114635"/>
                      </a:cubicBezTo>
                      <a:lnTo>
                        <a:pt x="724430" y="23803"/>
                      </a:lnTo>
                      <a:cubicBezTo>
                        <a:pt x="730251" y="12864"/>
                        <a:pt x="739954" y="5320"/>
                        <a:pt x="750937" y="1965"/>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67"/>
                  <a:endParaRPr lang="en-US" sz="1961" dirty="0">
                    <a:solidFill>
                      <a:srgbClr val="000000"/>
                    </a:solidFill>
                  </a:endParaRPr>
                </a:p>
              </p:txBody>
            </p:sp>
            <p:sp>
              <p:nvSpPr>
                <p:cNvPr id="35" name="Rectangle 62"/>
                <p:cNvSpPr/>
                <p:nvPr/>
              </p:nvSpPr>
              <p:spPr>
                <a:xfrm rot="18974245">
                  <a:off x="6023264" y="2582680"/>
                  <a:ext cx="1868256" cy="3029072"/>
                </a:xfrm>
                <a:custGeom>
                  <a:avLst/>
                  <a:gdLst>
                    <a:gd name="connsiteX0" fmla="*/ 1856143 w 1864331"/>
                    <a:gd name="connsiteY0" fmla="*/ 341271 h 2483987"/>
                    <a:gd name="connsiteX1" fmla="*/ 1864331 w 1864331"/>
                    <a:gd name="connsiteY1" fmla="*/ 966844 h 2483987"/>
                    <a:gd name="connsiteX2" fmla="*/ 1433839 w 1864331"/>
                    <a:gd name="connsiteY2" fmla="*/ 1517559 h 2483987"/>
                    <a:gd name="connsiteX3" fmla="*/ 1433840 w 1864331"/>
                    <a:gd name="connsiteY3" fmla="*/ 2483987 h 2483987"/>
                    <a:gd name="connsiteX4" fmla="*/ 488580 w 1864331"/>
                    <a:gd name="connsiteY4" fmla="*/ 2483987 h 2483987"/>
                    <a:gd name="connsiteX5" fmla="*/ 488581 w 1864331"/>
                    <a:gd name="connsiteY5" fmla="*/ 1584117 h 2483987"/>
                    <a:gd name="connsiteX6" fmla="*/ 0 w 1864331"/>
                    <a:gd name="connsiteY6" fmla="*/ 1202196 h 2483987"/>
                    <a:gd name="connsiteX7" fmla="*/ 0 w 1864331"/>
                    <a:gd name="connsiteY7" fmla="*/ 273950 h 2483987"/>
                    <a:gd name="connsiteX8" fmla="*/ 432957 w 1864331"/>
                    <a:gd name="connsiteY8" fmla="*/ 1289 h 2483987"/>
                    <a:gd name="connsiteX9" fmla="*/ 431190 w 1864331"/>
                    <a:gd name="connsiteY9" fmla="*/ 773655 h 2483987"/>
                    <a:gd name="connsiteX10" fmla="*/ 922265 w 1864331"/>
                    <a:gd name="connsiteY10" fmla="*/ 1052727 h 2483987"/>
                    <a:gd name="connsiteX11" fmla="*/ 962230 w 1864331"/>
                    <a:gd name="connsiteY11" fmla="*/ 1031655 h 2483987"/>
                    <a:gd name="connsiteX12" fmla="*/ 1404416 w 1864331"/>
                    <a:gd name="connsiteY12" fmla="*/ 762737 h 2483987"/>
                    <a:gd name="connsiteX13" fmla="*/ 1387941 w 1864331"/>
                    <a:gd name="connsiteY13" fmla="*/ 0 h 2483987"/>
                    <a:gd name="connsiteX14" fmla="*/ 1856143 w 1864331"/>
                    <a:gd name="connsiteY14" fmla="*/ 341271 h 2483987"/>
                    <a:gd name="connsiteX0" fmla="*/ 1856143 w 1868258"/>
                    <a:gd name="connsiteY0" fmla="*/ 341271 h 2483987"/>
                    <a:gd name="connsiteX1" fmla="*/ 1868258 w 1868258"/>
                    <a:gd name="connsiteY1" fmla="*/ 1148652 h 2483987"/>
                    <a:gd name="connsiteX2" fmla="*/ 1433839 w 1868258"/>
                    <a:gd name="connsiteY2" fmla="*/ 1517559 h 2483987"/>
                    <a:gd name="connsiteX3" fmla="*/ 1433840 w 1868258"/>
                    <a:gd name="connsiteY3" fmla="*/ 2483987 h 2483987"/>
                    <a:gd name="connsiteX4" fmla="*/ 488580 w 1868258"/>
                    <a:gd name="connsiteY4" fmla="*/ 2483987 h 2483987"/>
                    <a:gd name="connsiteX5" fmla="*/ 488581 w 1868258"/>
                    <a:gd name="connsiteY5" fmla="*/ 1584117 h 2483987"/>
                    <a:gd name="connsiteX6" fmla="*/ 0 w 1868258"/>
                    <a:gd name="connsiteY6" fmla="*/ 1202196 h 2483987"/>
                    <a:gd name="connsiteX7" fmla="*/ 0 w 1868258"/>
                    <a:gd name="connsiteY7" fmla="*/ 273950 h 2483987"/>
                    <a:gd name="connsiteX8" fmla="*/ 432957 w 1868258"/>
                    <a:gd name="connsiteY8" fmla="*/ 1289 h 2483987"/>
                    <a:gd name="connsiteX9" fmla="*/ 431190 w 1868258"/>
                    <a:gd name="connsiteY9" fmla="*/ 773655 h 2483987"/>
                    <a:gd name="connsiteX10" fmla="*/ 922265 w 1868258"/>
                    <a:gd name="connsiteY10" fmla="*/ 1052727 h 2483987"/>
                    <a:gd name="connsiteX11" fmla="*/ 962230 w 1868258"/>
                    <a:gd name="connsiteY11" fmla="*/ 1031655 h 2483987"/>
                    <a:gd name="connsiteX12" fmla="*/ 1404416 w 1868258"/>
                    <a:gd name="connsiteY12" fmla="*/ 762737 h 2483987"/>
                    <a:gd name="connsiteX13" fmla="*/ 1387941 w 1868258"/>
                    <a:gd name="connsiteY13" fmla="*/ 0 h 2483987"/>
                    <a:gd name="connsiteX14" fmla="*/ 1856143 w 1868258"/>
                    <a:gd name="connsiteY14" fmla="*/ 341271 h 2483987"/>
                    <a:gd name="connsiteX0" fmla="*/ 1856143 w 1868258"/>
                    <a:gd name="connsiteY0" fmla="*/ 341271 h 2483987"/>
                    <a:gd name="connsiteX1" fmla="*/ 1868258 w 1868258"/>
                    <a:gd name="connsiteY1" fmla="*/ 1148652 h 2483987"/>
                    <a:gd name="connsiteX2" fmla="*/ 1433839 w 1868258"/>
                    <a:gd name="connsiteY2" fmla="*/ 1517559 h 2483987"/>
                    <a:gd name="connsiteX3" fmla="*/ 1433840 w 1868258"/>
                    <a:gd name="connsiteY3" fmla="*/ 2483987 h 2483987"/>
                    <a:gd name="connsiteX4" fmla="*/ 488580 w 1868258"/>
                    <a:gd name="connsiteY4" fmla="*/ 2483987 h 2483987"/>
                    <a:gd name="connsiteX5" fmla="*/ 488581 w 1868258"/>
                    <a:gd name="connsiteY5" fmla="*/ 1584117 h 2483987"/>
                    <a:gd name="connsiteX6" fmla="*/ 0 w 1868258"/>
                    <a:gd name="connsiteY6" fmla="*/ 1202196 h 2483987"/>
                    <a:gd name="connsiteX7" fmla="*/ 0 w 1868258"/>
                    <a:gd name="connsiteY7" fmla="*/ 273950 h 2483987"/>
                    <a:gd name="connsiteX8" fmla="*/ 432957 w 1868258"/>
                    <a:gd name="connsiteY8" fmla="*/ 1289 h 2483987"/>
                    <a:gd name="connsiteX9" fmla="*/ 431190 w 1868258"/>
                    <a:gd name="connsiteY9" fmla="*/ 773655 h 2483987"/>
                    <a:gd name="connsiteX10" fmla="*/ 922265 w 1868258"/>
                    <a:gd name="connsiteY10" fmla="*/ 1052727 h 2483987"/>
                    <a:gd name="connsiteX11" fmla="*/ 1404416 w 1868258"/>
                    <a:gd name="connsiteY11" fmla="*/ 762737 h 2483987"/>
                    <a:gd name="connsiteX12" fmla="*/ 1387941 w 1868258"/>
                    <a:gd name="connsiteY12" fmla="*/ 0 h 2483987"/>
                    <a:gd name="connsiteX13" fmla="*/ 1856143 w 1868258"/>
                    <a:gd name="connsiteY13" fmla="*/ 341271 h 2483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68258" h="2483987">
                      <a:moveTo>
                        <a:pt x="1856143" y="341271"/>
                      </a:moveTo>
                      <a:lnTo>
                        <a:pt x="1868258" y="1148652"/>
                      </a:lnTo>
                      <a:lnTo>
                        <a:pt x="1433839" y="1517559"/>
                      </a:lnTo>
                      <a:cubicBezTo>
                        <a:pt x="1433839" y="1839702"/>
                        <a:pt x="1433840" y="2161844"/>
                        <a:pt x="1433840" y="2483987"/>
                      </a:cubicBezTo>
                      <a:lnTo>
                        <a:pt x="488580" y="2483987"/>
                      </a:lnTo>
                      <a:cubicBezTo>
                        <a:pt x="488580" y="2184030"/>
                        <a:pt x="488581" y="1884074"/>
                        <a:pt x="488581" y="1584117"/>
                      </a:cubicBezTo>
                      <a:lnTo>
                        <a:pt x="0" y="1202196"/>
                      </a:lnTo>
                      <a:lnTo>
                        <a:pt x="0" y="273950"/>
                      </a:lnTo>
                      <a:lnTo>
                        <a:pt x="432957" y="1289"/>
                      </a:lnTo>
                      <a:lnTo>
                        <a:pt x="431190" y="773655"/>
                      </a:lnTo>
                      <a:lnTo>
                        <a:pt x="922265" y="1052727"/>
                      </a:lnTo>
                      <a:lnTo>
                        <a:pt x="1404416" y="762737"/>
                      </a:lnTo>
                      <a:lnTo>
                        <a:pt x="1387941" y="0"/>
                      </a:lnTo>
                      <a:cubicBezTo>
                        <a:pt x="1546738" y="136154"/>
                        <a:pt x="1697346" y="205117"/>
                        <a:pt x="1856143" y="341271"/>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914367"/>
                  <a:endParaRPr lang="en-US" sz="1961" dirty="0">
                    <a:solidFill>
                      <a:srgbClr val="000000"/>
                    </a:solidFill>
                  </a:endParaRPr>
                </a:p>
              </p:txBody>
            </p:sp>
          </p:grpSp>
        </p:grpSp>
        <p:sp>
          <p:nvSpPr>
            <p:cNvPr id="36" name="Freeform 35"/>
            <p:cNvSpPr/>
            <p:nvPr/>
          </p:nvSpPr>
          <p:spPr bwMode="auto">
            <a:xfrm>
              <a:off x="738997" y="5345161"/>
              <a:ext cx="341096" cy="361706"/>
            </a:xfrm>
            <a:custGeom>
              <a:avLst/>
              <a:gdLst>
                <a:gd name="connsiteX0" fmla="*/ 519430 w 1813560"/>
                <a:gd name="connsiteY0" fmla="*/ 199517 h 1923151"/>
                <a:gd name="connsiteX1" fmla="*/ 519430 w 1813560"/>
                <a:gd name="connsiteY1" fmla="*/ 426321 h 1923151"/>
                <a:gd name="connsiteX2" fmla="*/ 511744 w 1813560"/>
                <a:gd name="connsiteY2" fmla="*/ 430493 h 1923151"/>
                <a:gd name="connsiteX3" fmla="*/ 200235 w 1813560"/>
                <a:gd name="connsiteY3" fmla="*/ 1016371 h 1923151"/>
                <a:gd name="connsiteX4" fmla="*/ 906780 w 1813560"/>
                <a:gd name="connsiteY4" fmla="*/ 1722916 h 1923151"/>
                <a:gd name="connsiteX5" fmla="*/ 1613325 w 1813560"/>
                <a:gd name="connsiteY5" fmla="*/ 1016371 h 1923151"/>
                <a:gd name="connsiteX6" fmla="*/ 1301816 w 1813560"/>
                <a:gd name="connsiteY6" fmla="*/ 430493 h 1923151"/>
                <a:gd name="connsiteX7" fmla="*/ 1294130 w 1813560"/>
                <a:gd name="connsiteY7" fmla="*/ 426321 h 1923151"/>
                <a:gd name="connsiteX8" fmla="*/ 1294130 w 1813560"/>
                <a:gd name="connsiteY8" fmla="*/ 199517 h 1923151"/>
                <a:gd name="connsiteX9" fmla="*/ 1413770 w 1813560"/>
                <a:gd name="connsiteY9" fmla="*/ 264455 h 1923151"/>
                <a:gd name="connsiteX10" fmla="*/ 1813560 w 1813560"/>
                <a:gd name="connsiteY10" fmla="*/ 1016371 h 1923151"/>
                <a:gd name="connsiteX11" fmla="*/ 906780 w 1813560"/>
                <a:gd name="connsiteY11" fmla="*/ 1923151 h 1923151"/>
                <a:gd name="connsiteX12" fmla="*/ 0 w 1813560"/>
                <a:gd name="connsiteY12" fmla="*/ 1016371 h 1923151"/>
                <a:gd name="connsiteX13" fmla="*/ 399791 w 1813560"/>
                <a:gd name="connsiteY13" fmla="*/ 264455 h 1923151"/>
                <a:gd name="connsiteX14" fmla="*/ 829132 w 1813560"/>
                <a:gd name="connsiteY14" fmla="*/ 0 h 1923151"/>
                <a:gd name="connsiteX15" fmla="*/ 984428 w 1813560"/>
                <a:gd name="connsiteY15" fmla="*/ 0 h 1923151"/>
                <a:gd name="connsiteX16" fmla="*/ 1023253 w 1813560"/>
                <a:gd name="connsiteY16" fmla="*/ 38825 h 1923151"/>
                <a:gd name="connsiteX17" fmla="*/ 1023253 w 1813560"/>
                <a:gd name="connsiteY17" fmla="*/ 900975 h 1923151"/>
                <a:gd name="connsiteX18" fmla="*/ 984428 w 1813560"/>
                <a:gd name="connsiteY18" fmla="*/ 939800 h 1923151"/>
                <a:gd name="connsiteX19" fmla="*/ 829132 w 1813560"/>
                <a:gd name="connsiteY19" fmla="*/ 939800 h 1923151"/>
                <a:gd name="connsiteX20" fmla="*/ 790307 w 1813560"/>
                <a:gd name="connsiteY20" fmla="*/ 900975 h 1923151"/>
                <a:gd name="connsiteX21" fmla="*/ 790307 w 1813560"/>
                <a:gd name="connsiteY21" fmla="*/ 38825 h 1923151"/>
                <a:gd name="connsiteX22" fmla="*/ 829132 w 1813560"/>
                <a:gd name="connsiteY22" fmla="*/ 0 h 1923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813560" h="1923151">
                  <a:moveTo>
                    <a:pt x="519430" y="199517"/>
                  </a:moveTo>
                  <a:lnTo>
                    <a:pt x="519430" y="426321"/>
                  </a:lnTo>
                  <a:lnTo>
                    <a:pt x="511744" y="430493"/>
                  </a:lnTo>
                  <a:cubicBezTo>
                    <a:pt x="323802" y="557464"/>
                    <a:pt x="200235" y="772487"/>
                    <a:pt x="200235" y="1016371"/>
                  </a:cubicBezTo>
                  <a:cubicBezTo>
                    <a:pt x="200235" y="1406585"/>
                    <a:pt x="516566" y="1722916"/>
                    <a:pt x="906780" y="1722916"/>
                  </a:cubicBezTo>
                  <a:cubicBezTo>
                    <a:pt x="1296994" y="1722916"/>
                    <a:pt x="1613325" y="1406585"/>
                    <a:pt x="1613325" y="1016371"/>
                  </a:cubicBezTo>
                  <a:cubicBezTo>
                    <a:pt x="1613325" y="772487"/>
                    <a:pt x="1489758" y="557464"/>
                    <a:pt x="1301816" y="430493"/>
                  </a:cubicBezTo>
                  <a:lnTo>
                    <a:pt x="1294130" y="426321"/>
                  </a:lnTo>
                  <a:lnTo>
                    <a:pt x="1294130" y="199517"/>
                  </a:lnTo>
                  <a:lnTo>
                    <a:pt x="1413770" y="264455"/>
                  </a:lnTo>
                  <a:cubicBezTo>
                    <a:pt x="1654975" y="427410"/>
                    <a:pt x="1813560" y="703370"/>
                    <a:pt x="1813560" y="1016371"/>
                  </a:cubicBezTo>
                  <a:cubicBezTo>
                    <a:pt x="1813560" y="1517172"/>
                    <a:pt x="1407581" y="1923151"/>
                    <a:pt x="906780" y="1923151"/>
                  </a:cubicBezTo>
                  <a:cubicBezTo>
                    <a:pt x="405979" y="1923151"/>
                    <a:pt x="0" y="1517172"/>
                    <a:pt x="0" y="1016371"/>
                  </a:cubicBezTo>
                  <a:cubicBezTo>
                    <a:pt x="0" y="703370"/>
                    <a:pt x="158586" y="427410"/>
                    <a:pt x="399791" y="264455"/>
                  </a:cubicBezTo>
                  <a:close/>
                  <a:moveTo>
                    <a:pt x="829132" y="0"/>
                  </a:moveTo>
                  <a:lnTo>
                    <a:pt x="984428" y="0"/>
                  </a:lnTo>
                  <a:cubicBezTo>
                    <a:pt x="1005870" y="0"/>
                    <a:pt x="1023253" y="17383"/>
                    <a:pt x="1023253" y="38825"/>
                  </a:cubicBezTo>
                  <a:lnTo>
                    <a:pt x="1023253" y="900975"/>
                  </a:lnTo>
                  <a:cubicBezTo>
                    <a:pt x="1023253" y="922417"/>
                    <a:pt x="1005870" y="939800"/>
                    <a:pt x="984428" y="939800"/>
                  </a:cubicBezTo>
                  <a:lnTo>
                    <a:pt x="829132" y="939800"/>
                  </a:lnTo>
                  <a:cubicBezTo>
                    <a:pt x="807690" y="939800"/>
                    <a:pt x="790307" y="922417"/>
                    <a:pt x="790307" y="900975"/>
                  </a:cubicBezTo>
                  <a:lnTo>
                    <a:pt x="790307" y="38825"/>
                  </a:lnTo>
                  <a:cubicBezTo>
                    <a:pt x="790307" y="17383"/>
                    <a:pt x="807690" y="0"/>
                    <a:pt x="829132" y="0"/>
                  </a:cubicBezTo>
                  <a:close/>
                </a:path>
              </a:pathLst>
            </a:cu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grpSp>
          <p:nvGrpSpPr>
            <p:cNvPr id="50" name="Group 49"/>
            <p:cNvGrpSpPr/>
            <p:nvPr/>
          </p:nvGrpSpPr>
          <p:grpSpPr>
            <a:xfrm rot="3600000">
              <a:off x="811173" y="3450332"/>
              <a:ext cx="263424" cy="382268"/>
              <a:chOff x="2010410" y="-1447802"/>
              <a:chExt cx="662940" cy="962028"/>
            </a:xfrm>
            <a:solidFill>
              <a:schemeClr val="accent1"/>
            </a:solidFill>
          </p:grpSpPr>
          <p:sp>
            <p:nvSpPr>
              <p:cNvPr id="44" name="Arc 43"/>
              <p:cNvSpPr/>
              <p:nvPr/>
            </p:nvSpPr>
            <p:spPr>
              <a:xfrm>
                <a:off x="2157201" y="-1447802"/>
                <a:ext cx="364597" cy="407194"/>
              </a:xfrm>
              <a:prstGeom prst="arc">
                <a:avLst>
                  <a:gd name="adj1" fmla="val 10849744"/>
                  <a:gd name="adj2" fmla="val 21548459"/>
                </a:avLst>
              </a:prstGeom>
              <a:noFill/>
              <a:ln>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14367"/>
                <a:endParaRPr lang="en-US" sz="1765" dirty="0">
                  <a:solidFill>
                    <a:srgbClr val="000000"/>
                  </a:solidFill>
                </a:endParaRPr>
              </a:p>
            </p:txBody>
          </p:sp>
          <p:sp>
            <p:nvSpPr>
              <p:cNvPr id="49" name="Freeform 48"/>
              <p:cNvSpPr/>
              <p:nvPr/>
            </p:nvSpPr>
            <p:spPr bwMode="auto">
              <a:xfrm>
                <a:off x="2010410" y="-1291379"/>
                <a:ext cx="662940" cy="805605"/>
              </a:xfrm>
              <a:custGeom>
                <a:avLst/>
                <a:gdLst>
                  <a:gd name="connsiteX0" fmla="*/ 510354 w 662940"/>
                  <a:gd name="connsiteY0" fmla="*/ 57930 h 805605"/>
                  <a:gd name="connsiteX1" fmla="*/ 534379 w 662940"/>
                  <a:gd name="connsiteY1" fmla="*/ 82219 h 805605"/>
                  <a:gd name="connsiteX2" fmla="*/ 510354 w 662940"/>
                  <a:gd name="connsiteY2" fmla="*/ 106509 h 805605"/>
                  <a:gd name="connsiteX3" fmla="*/ 486330 w 662940"/>
                  <a:gd name="connsiteY3" fmla="*/ 82219 h 805605"/>
                  <a:gd name="connsiteX4" fmla="*/ 510354 w 662940"/>
                  <a:gd name="connsiteY4" fmla="*/ 57930 h 805605"/>
                  <a:gd name="connsiteX5" fmla="*/ 150860 w 662940"/>
                  <a:gd name="connsiteY5" fmla="*/ 57930 h 805605"/>
                  <a:gd name="connsiteX6" fmla="*/ 174884 w 662940"/>
                  <a:gd name="connsiteY6" fmla="*/ 82219 h 805605"/>
                  <a:gd name="connsiteX7" fmla="*/ 150860 w 662940"/>
                  <a:gd name="connsiteY7" fmla="*/ 106509 h 805605"/>
                  <a:gd name="connsiteX8" fmla="*/ 126835 w 662940"/>
                  <a:gd name="connsiteY8" fmla="*/ 82219 h 805605"/>
                  <a:gd name="connsiteX9" fmla="*/ 150860 w 662940"/>
                  <a:gd name="connsiteY9" fmla="*/ 57930 h 805605"/>
                  <a:gd name="connsiteX10" fmla="*/ 511016 w 662940"/>
                  <a:gd name="connsiteY10" fmla="*/ 48962 h 805605"/>
                  <a:gd name="connsiteX11" fmla="*/ 477869 w 662940"/>
                  <a:gd name="connsiteY11" fmla="*/ 82475 h 805605"/>
                  <a:gd name="connsiteX12" fmla="*/ 511016 w 662940"/>
                  <a:gd name="connsiteY12" fmla="*/ 115987 h 805605"/>
                  <a:gd name="connsiteX13" fmla="*/ 544163 w 662940"/>
                  <a:gd name="connsiteY13" fmla="*/ 82475 h 805605"/>
                  <a:gd name="connsiteX14" fmla="*/ 511016 w 662940"/>
                  <a:gd name="connsiteY14" fmla="*/ 48962 h 805605"/>
                  <a:gd name="connsiteX15" fmla="*/ 151924 w 662940"/>
                  <a:gd name="connsiteY15" fmla="*/ 48962 h 805605"/>
                  <a:gd name="connsiteX16" fmla="*/ 118777 w 662940"/>
                  <a:gd name="connsiteY16" fmla="*/ 82475 h 805605"/>
                  <a:gd name="connsiteX17" fmla="*/ 151924 w 662940"/>
                  <a:gd name="connsiteY17" fmla="*/ 115987 h 805605"/>
                  <a:gd name="connsiteX18" fmla="*/ 185071 w 662940"/>
                  <a:gd name="connsiteY18" fmla="*/ 82475 h 805605"/>
                  <a:gd name="connsiteX19" fmla="*/ 151924 w 662940"/>
                  <a:gd name="connsiteY19" fmla="*/ 48962 h 805605"/>
                  <a:gd name="connsiteX20" fmla="*/ 110492 w 662940"/>
                  <a:gd name="connsiteY20" fmla="*/ 0 h 805605"/>
                  <a:gd name="connsiteX21" fmla="*/ 552448 w 662940"/>
                  <a:gd name="connsiteY21" fmla="*/ 0 h 805605"/>
                  <a:gd name="connsiteX22" fmla="*/ 662940 w 662940"/>
                  <a:gd name="connsiteY22" fmla="*/ 111711 h 805605"/>
                  <a:gd name="connsiteX23" fmla="*/ 662940 w 662940"/>
                  <a:gd name="connsiteY23" fmla="*/ 805605 h 805605"/>
                  <a:gd name="connsiteX24" fmla="*/ 0 w 662940"/>
                  <a:gd name="connsiteY24" fmla="*/ 805605 h 805605"/>
                  <a:gd name="connsiteX25" fmla="*/ 0 w 662940"/>
                  <a:gd name="connsiteY25" fmla="*/ 111711 h 8056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62940" h="805605">
                    <a:moveTo>
                      <a:pt x="510354" y="57930"/>
                    </a:moveTo>
                    <a:cubicBezTo>
                      <a:pt x="523623" y="57930"/>
                      <a:pt x="534379" y="68805"/>
                      <a:pt x="534379" y="82219"/>
                    </a:cubicBezTo>
                    <a:cubicBezTo>
                      <a:pt x="534379" y="95634"/>
                      <a:pt x="523623" y="106509"/>
                      <a:pt x="510354" y="106509"/>
                    </a:cubicBezTo>
                    <a:cubicBezTo>
                      <a:pt x="497086" y="106509"/>
                      <a:pt x="486330" y="95634"/>
                      <a:pt x="486330" y="82219"/>
                    </a:cubicBezTo>
                    <a:cubicBezTo>
                      <a:pt x="486330" y="68805"/>
                      <a:pt x="497086" y="57930"/>
                      <a:pt x="510354" y="57930"/>
                    </a:cubicBezTo>
                    <a:close/>
                    <a:moveTo>
                      <a:pt x="150860" y="57930"/>
                    </a:moveTo>
                    <a:cubicBezTo>
                      <a:pt x="164128" y="57930"/>
                      <a:pt x="174884" y="68805"/>
                      <a:pt x="174884" y="82219"/>
                    </a:cubicBezTo>
                    <a:cubicBezTo>
                      <a:pt x="174884" y="95634"/>
                      <a:pt x="164128" y="106509"/>
                      <a:pt x="150860" y="106509"/>
                    </a:cubicBezTo>
                    <a:cubicBezTo>
                      <a:pt x="137591" y="106509"/>
                      <a:pt x="126835" y="95634"/>
                      <a:pt x="126835" y="82219"/>
                    </a:cubicBezTo>
                    <a:cubicBezTo>
                      <a:pt x="126835" y="68805"/>
                      <a:pt x="137591" y="57930"/>
                      <a:pt x="150860" y="57930"/>
                    </a:cubicBezTo>
                    <a:close/>
                    <a:moveTo>
                      <a:pt x="511016" y="48962"/>
                    </a:moveTo>
                    <a:cubicBezTo>
                      <a:pt x="492710" y="48962"/>
                      <a:pt x="477869" y="63966"/>
                      <a:pt x="477869" y="82475"/>
                    </a:cubicBezTo>
                    <a:cubicBezTo>
                      <a:pt x="477869" y="100983"/>
                      <a:pt x="492710" y="115987"/>
                      <a:pt x="511016" y="115987"/>
                    </a:cubicBezTo>
                    <a:cubicBezTo>
                      <a:pt x="529323" y="115987"/>
                      <a:pt x="544163" y="100983"/>
                      <a:pt x="544163" y="82475"/>
                    </a:cubicBezTo>
                    <a:cubicBezTo>
                      <a:pt x="544163" y="63966"/>
                      <a:pt x="529323" y="48962"/>
                      <a:pt x="511016" y="48962"/>
                    </a:cubicBezTo>
                    <a:close/>
                    <a:moveTo>
                      <a:pt x="151924" y="48962"/>
                    </a:moveTo>
                    <a:cubicBezTo>
                      <a:pt x="133618" y="48962"/>
                      <a:pt x="118777" y="63966"/>
                      <a:pt x="118777" y="82475"/>
                    </a:cubicBezTo>
                    <a:cubicBezTo>
                      <a:pt x="118777" y="100983"/>
                      <a:pt x="133618" y="115987"/>
                      <a:pt x="151924" y="115987"/>
                    </a:cubicBezTo>
                    <a:cubicBezTo>
                      <a:pt x="170230" y="115987"/>
                      <a:pt x="185071" y="100983"/>
                      <a:pt x="185071" y="82475"/>
                    </a:cubicBezTo>
                    <a:cubicBezTo>
                      <a:pt x="185071" y="63966"/>
                      <a:pt x="170230" y="48962"/>
                      <a:pt x="151924" y="48962"/>
                    </a:cubicBezTo>
                    <a:close/>
                    <a:moveTo>
                      <a:pt x="110492" y="0"/>
                    </a:moveTo>
                    <a:lnTo>
                      <a:pt x="552448" y="0"/>
                    </a:lnTo>
                    <a:lnTo>
                      <a:pt x="662940" y="111711"/>
                    </a:lnTo>
                    <a:lnTo>
                      <a:pt x="662940" y="805605"/>
                    </a:lnTo>
                    <a:lnTo>
                      <a:pt x="0" y="805605"/>
                    </a:lnTo>
                    <a:lnTo>
                      <a:pt x="0" y="111711"/>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sp>
          <p:nvSpPr>
            <p:cNvPr id="51" name="Freeform 50"/>
            <p:cNvSpPr/>
            <p:nvPr/>
          </p:nvSpPr>
          <p:spPr bwMode="auto">
            <a:xfrm>
              <a:off x="793835" y="4057162"/>
              <a:ext cx="231418" cy="424972"/>
            </a:xfrm>
            <a:custGeom>
              <a:avLst/>
              <a:gdLst>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38425"/>
                <a:gd name="connsiteY0" fmla="*/ 0 h 4914900"/>
                <a:gd name="connsiteX1" fmla="*/ 1676400 w 2638425"/>
                <a:gd name="connsiteY1" fmla="*/ 0 h 4914900"/>
                <a:gd name="connsiteX2" fmla="*/ 1676400 w 2638425"/>
                <a:gd name="connsiteY2" fmla="*/ 523875 h 4914900"/>
                <a:gd name="connsiteX3" fmla="*/ 2466975 w 2638425"/>
                <a:gd name="connsiteY3" fmla="*/ 647700 h 4914900"/>
                <a:gd name="connsiteX4" fmla="*/ 2466975 w 2638425"/>
                <a:gd name="connsiteY4" fmla="*/ 1628775 h 4914900"/>
                <a:gd name="connsiteX5" fmla="*/ 1276350 w 2638425"/>
                <a:gd name="connsiteY5" fmla="*/ 1400175 h 4914900"/>
                <a:gd name="connsiteX6" fmla="*/ 1238250 w 2638425"/>
                <a:gd name="connsiteY6" fmla="*/ 1800225 h 4914900"/>
                <a:gd name="connsiteX7" fmla="*/ 2638425 w 2638425"/>
                <a:gd name="connsiteY7" fmla="*/ 3276600 h 4914900"/>
                <a:gd name="connsiteX8" fmla="*/ 1685925 w 2638425"/>
                <a:gd name="connsiteY8" fmla="*/ 4305300 h 4914900"/>
                <a:gd name="connsiteX9" fmla="*/ 1685925 w 2638425"/>
                <a:gd name="connsiteY9" fmla="*/ 4914900 h 4914900"/>
                <a:gd name="connsiteX10" fmla="*/ 1038225 w 2638425"/>
                <a:gd name="connsiteY10" fmla="*/ 4914900 h 4914900"/>
                <a:gd name="connsiteX11" fmla="*/ 1038225 w 2638425"/>
                <a:gd name="connsiteY11" fmla="*/ 4381500 h 4914900"/>
                <a:gd name="connsiteX12" fmla="*/ 19050 w 2638425"/>
                <a:gd name="connsiteY12" fmla="*/ 4152900 h 4914900"/>
                <a:gd name="connsiteX13" fmla="*/ 19050 w 2638425"/>
                <a:gd name="connsiteY13" fmla="*/ 3133725 h 4914900"/>
                <a:gd name="connsiteX14" fmla="*/ 1181100 w 2638425"/>
                <a:gd name="connsiteY14" fmla="*/ 3533775 h 4914900"/>
                <a:gd name="connsiteX15" fmla="*/ 1333500 w 2638425"/>
                <a:gd name="connsiteY15" fmla="*/ 3086100 h 4914900"/>
                <a:gd name="connsiteX16" fmla="*/ 0 w 2638425"/>
                <a:gd name="connsiteY16" fmla="*/ 1447800 h 4914900"/>
                <a:gd name="connsiteX17" fmla="*/ 1038225 w 2638425"/>
                <a:gd name="connsiteY17" fmla="*/ 561975 h 4914900"/>
                <a:gd name="connsiteX18" fmla="*/ 1028700 w 2638425"/>
                <a:gd name="connsiteY18" fmla="*/ 0 h 4914900"/>
                <a:gd name="connsiteX0" fmla="*/ 1028700 w 2641426"/>
                <a:gd name="connsiteY0" fmla="*/ 0 h 4914900"/>
                <a:gd name="connsiteX1" fmla="*/ 1676400 w 2641426"/>
                <a:gd name="connsiteY1" fmla="*/ 0 h 4914900"/>
                <a:gd name="connsiteX2" fmla="*/ 1676400 w 2641426"/>
                <a:gd name="connsiteY2" fmla="*/ 523875 h 4914900"/>
                <a:gd name="connsiteX3" fmla="*/ 2466975 w 2641426"/>
                <a:gd name="connsiteY3" fmla="*/ 647700 h 4914900"/>
                <a:gd name="connsiteX4" fmla="*/ 2466975 w 2641426"/>
                <a:gd name="connsiteY4" fmla="*/ 1628775 h 4914900"/>
                <a:gd name="connsiteX5" fmla="*/ 1276350 w 2641426"/>
                <a:gd name="connsiteY5" fmla="*/ 1400175 h 4914900"/>
                <a:gd name="connsiteX6" fmla="*/ 1238250 w 2641426"/>
                <a:gd name="connsiteY6" fmla="*/ 1800225 h 4914900"/>
                <a:gd name="connsiteX7" fmla="*/ 2638425 w 2641426"/>
                <a:gd name="connsiteY7" fmla="*/ 3276600 h 4914900"/>
                <a:gd name="connsiteX8" fmla="*/ 1685925 w 2641426"/>
                <a:gd name="connsiteY8" fmla="*/ 4305300 h 4914900"/>
                <a:gd name="connsiteX9" fmla="*/ 1685925 w 2641426"/>
                <a:gd name="connsiteY9" fmla="*/ 4914900 h 4914900"/>
                <a:gd name="connsiteX10" fmla="*/ 1038225 w 2641426"/>
                <a:gd name="connsiteY10" fmla="*/ 4914900 h 4914900"/>
                <a:gd name="connsiteX11" fmla="*/ 1038225 w 2641426"/>
                <a:gd name="connsiteY11" fmla="*/ 4381500 h 4914900"/>
                <a:gd name="connsiteX12" fmla="*/ 19050 w 2641426"/>
                <a:gd name="connsiteY12" fmla="*/ 4152900 h 4914900"/>
                <a:gd name="connsiteX13" fmla="*/ 19050 w 2641426"/>
                <a:gd name="connsiteY13" fmla="*/ 3133725 h 4914900"/>
                <a:gd name="connsiteX14" fmla="*/ 1181100 w 2641426"/>
                <a:gd name="connsiteY14" fmla="*/ 3533775 h 4914900"/>
                <a:gd name="connsiteX15" fmla="*/ 1333500 w 2641426"/>
                <a:gd name="connsiteY15" fmla="*/ 3086100 h 4914900"/>
                <a:gd name="connsiteX16" fmla="*/ 0 w 2641426"/>
                <a:gd name="connsiteY16" fmla="*/ 1447800 h 4914900"/>
                <a:gd name="connsiteX17" fmla="*/ 1038225 w 2641426"/>
                <a:gd name="connsiteY17" fmla="*/ 561975 h 4914900"/>
                <a:gd name="connsiteX18" fmla="*/ 1028700 w 2641426"/>
                <a:gd name="connsiteY18" fmla="*/ 0 h 4914900"/>
                <a:gd name="connsiteX0" fmla="*/ 1028700 w 2640867"/>
                <a:gd name="connsiteY0" fmla="*/ 0 h 4914900"/>
                <a:gd name="connsiteX1" fmla="*/ 1676400 w 2640867"/>
                <a:gd name="connsiteY1" fmla="*/ 0 h 4914900"/>
                <a:gd name="connsiteX2" fmla="*/ 1676400 w 2640867"/>
                <a:gd name="connsiteY2" fmla="*/ 523875 h 4914900"/>
                <a:gd name="connsiteX3" fmla="*/ 2466975 w 2640867"/>
                <a:gd name="connsiteY3" fmla="*/ 647700 h 4914900"/>
                <a:gd name="connsiteX4" fmla="*/ 2466975 w 2640867"/>
                <a:gd name="connsiteY4" fmla="*/ 1628775 h 4914900"/>
                <a:gd name="connsiteX5" fmla="*/ 1276350 w 2640867"/>
                <a:gd name="connsiteY5" fmla="*/ 1400175 h 4914900"/>
                <a:gd name="connsiteX6" fmla="*/ 1238250 w 2640867"/>
                <a:gd name="connsiteY6" fmla="*/ 1800225 h 4914900"/>
                <a:gd name="connsiteX7" fmla="*/ 2638425 w 2640867"/>
                <a:gd name="connsiteY7" fmla="*/ 3276600 h 4914900"/>
                <a:gd name="connsiteX8" fmla="*/ 1685925 w 2640867"/>
                <a:gd name="connsiteY8" fmla="*/ 4305300 h 4914900"/>
                <a:gd name="connsiteX9" fmla="*/ 1685925 w 2640867"/>
                <a:gd name="connsiteY9" fmla="*/ 4914900 h 4914900"/>
                <a:gd name="connsiteX10" fmla="*/ 1038225 w 2640867"/>
                <a:gd name="connsiteY10" fmla="*/ 4914900 h 4914900"/>
                <a:gd name="connsiteX11" fmla="*/ 1038225 w 2640867"/>
                <a:gd name="connsiteY11" fmla="*/ 4381500 h 4914900"/>
                <a:gd name="connsiteX12" fmla="*/ 19050 w 2640867"/>
                <a:gd name="connsiteY12" fmla="*/ 4152900 h 4914900"/>
                <a:gd name="connsiteX13" fmla="*/ 19050 w 2640867"/>
                <a:gd name="connsiteY13" fmla="*/ 3133725 h 4914900"/>
                <a:gd name="connsiteX14" fmla="*/ 1181100 w 2640867"/>
                <a:gd name="connsiteY14" fmla="*/ 3533775 h 4914900"/>
                <a:gd name="connsiteX15" fmla="*/ 1333500 w 2640867"/>
                <a:gd name="connsiteY15" fmla="*/ 3086100 h 4914900"/>
                <a:gd name="connsiteX16" fmla="*/ 0 w 2640867"/>
                <a:gd name="connsiteY16" fmla="*/ 1447800 h 4914900"/>
                <a:gd name="connsiteX17" fmla="*/ 1038225 w 2640867"/>
                <a:gd name="connsiteY17" fmla="*/ 561975 h 4914900"/>
                <a:gd name="connsiteX18" fmla="*/ 1028700 w 2640867"/>
                <a:gd name="connsiteY18" fmla="*/ 0 h 4914900"/>
                <a:gd name="connsiteX0" fmla="*/ 1028700 w 2646293"/>
                <a:gd name="connsiteY0" fmla="*/ 0 h 4914900"/>
                <a:gd name="connsiteX1" fmla="*/ 1676400 w 2646293"/>
                <a:gd name="connsiteY1" fmla="*/ 0 h 4914900"/>
                <a:gd name="connsiteX2" fmla="*/ 1676400 w 2646293"/>
                <a:gd name="connsiteY2" fmla="*/ 523875 h 4914900"/>
                <a:gd name="connsiteX3" fmla="*/ 2466975 w 2646293"/>
                <a:gd name="connsiteY3" fmla="*/ 647700 h 4914900"/>
                <a:gd name="connsiteX4" fmla="*/ 2466975 w 2646293"/>
                <a:gd name="connsiteY4" fmla="*/ 1628775 h 4914900"/>
                <a:gd name="connsiteX5" fmla="*/ 1276350 w 2646293"/>
                <a:gd name="connsiteY5" fmla="*/ 1400175 h 4914900"/>
                <a:gd name="connsiteX6" fmla="*/ 1238250 w 2646293"/>
                <a:gd name="connsiteY6" fmla="*/ 1800225 h 4914900"/>
                <a:gd name="connsiteX7" fmla="*/ 2638425 w 2646293"/>
                <a:gd name="connsiteY7" fmla="*/ 3276600 h 4914900"/>
                <a:gd name="connsiteX8" fmla="*/ 1685925 w 2646293"/>
                <a:gd name="connsiteY8" fmla="*/ 4305300 h 4914900"/>
                <a:gd name="connsiteX9" fmla="*/ 1685925 w 2646293"/>
                <a:gd name="connsiteY9" fmla="*/ 4914900 h 4914900"/>
                <a:gd name="connsiteX10" fmla="*/ 1038225 w 2646293"/>
                <a:gd name="connsiteY10" fmla="*/ 4914900 h 4914900"/>
                <a:gd name="connsiteX11" fmla="*/ 1038225 w 2646293"/>
                <a:gd name="connsiteY11" fmla="*/ 4381500 h 4914900"/>
                <a:gd name="connsiteX12" fmla="*/ 19050 w 2646293"/>
                <a:gd name="connsiteY12" fmla="*/ 4152900 h 4914900"/>
                <a:gd name="connsiteX13" fmla="*/ 19050 w 2646293"/>
                <a:gd name="connsiteY13" fmla="*/ 3133725 h 4914900"/>
                <a:gd name="connsiteX14" fmla="*/ 1181100 w 2646293"/>
                <a:gd name="connsiteY14" fmla="*/ 3533775 h 4914900"/>
                <a:gd name="connsiteX15" fmla="*/ 1333500 w 2646293"/>
                <a:gd name="connsiteY15" fmla="*/ 3086100 h 4914900"/>
                <a:gd name="connsiteX16" fmla="*/ 0 w 2646293"/>
                <a:gd name="connsiteY16" fmla="*/ 1447800 h 4914900"/>
                <a:gd name="connsiteX17" fmla="*/ 1038225 w 2646293"/>
                <a:gd name="connsiteY17" fmla="*/ 561975 h 4914900"/>
                <a:gd name="connsiteX18" fmla="*/ 1028700 w 2646293"/>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28700 w 2646344"/>
                <a:gd name="connsiteY0" fmla="*/ 0 h 4914900"/>
                <a:gd name="connsiteX1" fmla="*/ 1676400 w 2646344"/>
                <a:gd name="connsiteY1" fmla="*/ 0 h 4914900"/>
                <a:gd name="connsiteX2" fmla="*/ 1676400 w 2646344"/>
                <a:gd name="connsiteY2" fmla="*/ 523875 h 4914900"/>
                <a:gd name="connsiteX3" fmla="*/ 2466975 w 2646344"/>
                <a:gd name="connsiteY3" fmla="*/ 647700 h 4914900"/>
                <a:gd name="connsiteX4" fmla="*/ 2466975 w 2646344"/>
                <a:gd name="connsiteY4" fmla="*/ 1628775 h 4914900"/>
                <a:gd name="connsiteX5" fmla="*/ 1276350 w 2646344"/>
                <a:gd name="connsiteY5" fmla="*/ 1400175 h 4914900"/>
                <a:gd name="connsiteX6" fmla="*/ 1238250 w 2646344"/>
                <a:gd name="connsiteY6" fmla="*/ 1800225 h 4914900"/>
                <a:gd name="connsiteX7" fmla="*/ 2638425 w 2646344"/>
                <a:gd name="connsiteY7" fmla="*/ 3276600 h 4914900"/>
                <a:gd name="connsiteX8" fmla="*/ 1685925 w 2646344"/>
                <a:gd name="connsiteY8" fmla="*/ 4305300 h 4914900"/>
                <a:gd name="connsiteX9" fmla="*/ 1685925 w 2646344"/>
                <a:gd name="connsiteY9" fmla="*/ 4914900 h 4914900"/>
                <a:gd name="connsiteX10" fmla="*/ 1038225 w 2646344"/>
                <a:gd name="connsiteY10" fmla="*/ 4914900 h 4914900"/>
                <a:gd name="connsiteX11" fmla="*/ 1038225 w 2646344"/>
                <a:gd name="connsiteY11" fmla="*/ 4381500 h 4914900"/>
                <a:gd name="connsiteX12" fmla="*/ 19050 w 2646344"/>
                <a:gd name="connsiteY12" fmla="*/ 4152900 h 4914900"/>
                <a:gd name="connsiteX13" fmla="*/ 19050 w 2646344"/>
                <a:gd name="connsiteY13" fmla="*/ 3133725 h 4914900"/>
                <a:gd name="connsiteX14" fmla="*/ 1181100 w 2646344"/>
                <a:gd name="connsiteY14" fmla="*/ 3533775 h 4914900"/>
                <a:gd name="connsiteX15" fmla="*/ 1333500 w 2646344"/>
                <a:gd name="connsiteY15" fmla="*/ 3086100 h 4914900"/>
                <a:gd name="connsiteX16" fmla="*/ 0 w 2646344"/>
                <a:gd name="connsiteY16" fmla="*/ 1447800 h 4914900"/>
                <a:gd name="connsiteX17" fmla="*/ 1038225 w 2646344"/>
                <a:gd name="connsiteY17" fmla="*/ 561975 h 4914900"/>
                <a:gd name="connsiteX18" fmla="*/ 1028700 w 2646344"/>
                <a:gd name="connsiteY18" fmla="*/ 0 h 4914900"/>
                <a:gd name="connsiteX0" fmla="*/ 1064796 w 2682440"/>
                <a:gd name="connsiteY0" fmla="*/ 0 h 4914900"/>
                <a:gd name="connsiteX1" fmla="*/ 1712496 w 2682440"/>
                <a:gd name="connsiteY1" fmla="*/ 0 h 4914900"/>
                <a:gd name="connsiteX2" fmla="*/ 1712496 w 2682440"/>
                <a:gd name="connsiteY2" fmla="*/ 523875 h 4914900"/>
                <a:gd name="connsiteX3" fmla="*/ 2503071 w 2682440"/>
                <a:gd name="connsiteY3" fmla="*/ 647700 h 4914900"/>
                <a:gd name="connsiteX4" fmla="*/ 2503071 w 2682440"/>
                <a:gd name="connsiteY4" fmla="*/ 1628775 h 4914900"/>
                <a:gd name="connsiteX5" fmla="*/ 1312446 w 2682440"/>
                <a:gd name="connsiteY5" fmla="*/ 1400175 h 4914900"/>
                <a:gd name="connsiteX6" fmla="*/ 1274346 w 2682440"/>
                <a:gd name="connsiteY6" fmla="*/ 1800225 h 4914900"/>
                <a:gd name="connsiteX7" fmla="*/ 2674521 w 2682440"/>
                <a:gd name="connsiteY7" fmla="*/ 3276600 h 4914900"/>
                <a:gd name="connsiteX8" fmla="*/ 1722021 w 2682440"/>
                <a:gd name="connsiteY8" fmla="*/ 4305300 h 4914900"/>
                <a:gd name="connsiteX9" fmla="*/ 1722021 w 2682440"/>
                <a:gd name="connsiteY9" fmla="*/ 4914900 h 4914900"/>
                <a:gd name="connsiteX10" fmla="*/ 1074321 w 2682440"/>
                <a:gd name="connsiteY10" fmla="*/ 4914900 h 4914900"/>
                <a:gd name="connsiteX11" fmla="*/ 1074321 w 2682440"/>
                <a:gd name="connsiteY11" fmla="*/ 4381500 h 4914900"/>
                <a:gd name="connsiteX12" fmla="*/ 55146 w 2682440"/>
                <a:gd name="connsiteY12" fmla="*/ 4152900 h 4914900"/>
                <a:gd name="connsiteX13" fmla="*/ 55146 w 2682440"/>
                <a:gd name="connsiteY13" fmla="*/ 3133725 h 4914900"/>
                <a:gd name="connsiteX14" fmla="*/ 1217196 w 2682440"/>
                <a:gd name="connsiteY14" fmla="*/ 3533775 h 4914900"/>
                <a:gd name="connsiteX15" fmla="*/ 1369596 w 2682440"/>
                <a:gd name="connsiteY15" fmla="*/ 3086100 h 4914900"/>
                <a:gd name="connsiteX16" fmla="*/ 36096 w 2682440"/>
                <a:gd name="connsiteY16" fmla="*/ 1447800 h 4914900"/>
                <a:gd name="connsiteX17" fmla="*/ 1074321 w 2682440"/>
                <a:gd name="connsiteY17" fmla="*/ 561975 h 4914900"/>
                <a:gd name="connsiteX18" fmla="*/ 1064796 w 2682440"/>
                <a:gd name="connsiteY18" fmla="*/ 0 h 4914900"/>
                <a:gd name="connsiteX0" fmla="*/ 1065400 w 2683044"/>
                <a:gd name="connsiteY0" fmla="*/ 0 h 4914900"/>
                <a:gd name="connsiteX1" fmla="*/ 1713100 w 2683044"/>
                <a:gd name="connsiteY1" fmla="*/ 0 h 4914900"/>
                <a:gd name="connsiteX2" fmla="*/ 1713100 w 2683044"/>
                <a:gd name="connsiteY2" fmla="*/ 523875 h 4914900"/>
                <a:gd name="connsiteX3" fmla="*/ 2503675 w 2683044"/>
                <a:gd name="connsiteY3" fmla="*/ 647700 h 4914900"/>
                <a:gd name="connsiteX4" fmla="*/ 2503675 w 2683044"/>
                <a:gd name="connsiteY4" fmla="*/ 1628775 h 4914900"/>
                <a:gd name="connsiteX5" fmla="*/ 1313050 w 2683044"/>
                <a:gd name="connsiteY5" fmla="*/ 1400175 h 4914900"/>
                <a:gd name="connsiteX6" fmla="*/ 1274950 w 2683044"/>
                <a:gd name="connsiteY6" fmla="*/ 1800225 h 4914900"/>
                <a:gd name="connsiteX7" fmla="*/ 2675125 w 2683044"/>
                <a:gd name="connsiteY7" fmla="*/ 3276600 h 4914900"/>
                <a:gd name="connsiteX8" fmla="*/ 1722625 w 2683044"/>
                <a:gd name="connsiteY8" fmla="*/ 4305300 h 4914900"/>
                <a:gd name="connsiteX9" fmla="*/ 1722625 w 2683044"/>
                <a:gd name="connsiteY9" fmla="*/ 4914900 h 4914900"/>
                <a:gd name="connsiteX10" fmla="*/ 1074925 w 2683044"/>
                <a:gd name="connsiteY10" fmla="*/ 4914900 h 4914900"/>
                <a:gd name="connsiteX11" fmla="*/ 1074925 w 2683044"/>
                <a:gd name="connsiteY11" fmla="*/ 4381500 h 4914900"/>
                <a:gd name="connsiteX12" fmla="*/ 55750 w 2683044"/>
                <a:gd name="connsiteY12" fmla="*/ 4152900 h 4914900"/>
                <a:gd name="connsiteX13" fmla="*/ 55750 w 2683044"/>
                <a:gd name="connsiteY13" fmla="*/ 3133725 h 4914900"/>
                <a:gd name="connsiteX14" fmla="*/ 1217800 w 2683044"/>
                <a:gd name="connsiteY14" fmla="*/ 3533775 h 4914900"/>
                <a:gd name="connsiteX15" fmla="*/ 1370200 w 2683044"/>
                <a:gd name="connsiteY15" fmla="*/ 3086100 h 4914900"/>
                <a:gd name="connsiteX16" fmla="*/ 36700 w 2683044"/>
                <a:gd name="connsiteY16" fmla="*/ 1447800 h 4914900"/>
                <a:gd name="connsiteX17" fmla="*/ 1074925 w 2683044"/>
                <a:gd name="connsiteY17" fmla="*/ 561975 h 4914900"/>
                <a:gd name="connsiteX18" fmla="*/ 1065400 w 2683044"/>
                <a:gd name="connsiteY18" fmla="*/ 0 h 4914900"/>
                <a:gd name="connsiteX0" fmla="*/ 1061280 w 2678924"/>
                <a:gd name="connsiteY0" fmla="*/ 0 h 4914900"/>
                <a:gd name="connsiteX1" fmla="*/ 1708980 w 2678924"/>
                <a:gd name="connsiteY1" fmla="*/ 0 h 4914900"/>
                <a:gd name="connsiteX2" fmla="*/ 1708980 w 2678924"/>
                <a:gd name="connsiteY2" fmla="*/ 523875 h 4914900"/>
                <a:gd name="connsiteX3" fmla="*/ 2499555 w 2678924"/>
                <a:gd name="connsiteY3" fmla="*/ 647700 h 4914900"/>
                <a:gd name="connsiteX4" fmla="*/ 2499555 w 2678924"/>
                <a:gd name="connsiteY4" fmla="*/ 1628775 h 4914900"/>
                <a:gd name="connsiteX5" fmla="*/ 1308930 w 2678924"/>
                <a:gd name="connsiteY5" fmla="*/ 1400175 h 4914900"/>
                <a:gd name="connsiteX6" fmla="*/ 1270830 w 2678924"/>
                <a:gd name="connsiteY6" fmla="*/ 1800225 h 4914900"/>
                <a:gd name="connsiteX7" fmla="*/ 2671005 w 2678924"/>
                <a:gd name="connsiteY7" fmla="*/ 3276600 h 4914900"/>
                <a:gd name="connsiteX8" fmla="*/ 1718505 w 2678924"/>
                <a:gd name="connsiteY8" fmla="*/ 4305300 h 4914900"/>
                <a:gd name="connsiteX9" fmla="*/ 1718505 w 2678924"/>
                <a:gd name="connsiteY9" fmla="*/ 4914900 h 4914900"/>
                <a:gd name="connsiteX10" fmla="*/ 1070805 w 2678924"/>
                <a:gd name="connsiteY10" fmla="*/ 4914900 h 4914900"/>
                <a:gd name="connsiteX11" fmla="*/ 1070805 w 2678924"/>
                <a:gd name="connsiteY11" fmla="*/ 4381500 h 4914900"/>
                <a:gd name="connsiteX12" fmla="*/ 51630 w 2678924"/>
                <a:gd name="connsiteY12" fmla="*/ 4152900 h 4914900"/>
                <a:gd name="connsiteX13" fmla="*/ 51630 w 2678924"/>
                <a:gd name="connsiteY13" fmla="*/ 3133725 h 4914900"/>
                <a:gd name="connsiteX14" fmla="*/ 1213680 w 2678924"/>
                <a:gd name="connsiteY14" fmla="*/ 3533775 h 4914900"/>
                <a:gd name="connsiteX15" fmla="*/ 1366080 w 2678924"/>
                <a:gd name="connsiteY15" fmla="*/ 3086100 h 4914900"/>
                <a:gd name="connsiteX16" fmla="*/ 32580 w 2678924"/>
                <a:gd name="connsiteY16" fmla="*/ 1447800 h 4914900"/>
                <a:gd name="connsiteX17" fmla="*/ 1070805 w 2678924"/>
                <a:gd name="connsiteY17" fmla="*/ 561975 h 4914900"/>
                <a:gd name="connsiteX18" fmla="*/ 1061280 w 2678924"/>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61749 w 2679393"/>
                <a:gd name="connsiteY0" fmla="*/ 0 h 4914900"/>
                <a:gd name="connsiteX1" fmla="*/ 1709449 w 2679393"/>
                <a:gd name="connsiteY1" fmla="*/ 0 h 4914900"/>
                <a:gd name="connsiteX2" fmla="*/ 1709449 w 2679393"/>
                <a:gd name="connsiteY2" fmla="*/ 523875 h 4914900"/>
                <a:gd name="connsiteX3" fmla="*/ 2500024 w 2679393"/>
                <a:gd name="connsiteY3" fmla="*/ 647700 h 4914900"/>
                <a:gd name="connsiteX4" fmla="*/ 2500024 w 2679393"/>
                <a:gd name="connsiteY4" fmla="*/ 1628775 h 4914900"/>
                <a:gd name="connsiteX5" fmla="*/ 1309399 w 2679393"/>
                <a:gd name="connsiteY5" fmla="*/ 1400175 h 4914900"/>
                <a:gd name="connsiteX6" fmla="*/ 1271299 w 2679393"/>
                <a:gd name="connsiteY6" fmla="*/ 1800225 h 4914900"/>
                <a:gd name="connsiteX7" fmla="*/ 2671474 w 2679393"/>
                <a:gd name="connsiteY7" fmla="*/ 3276600 h 4914900"/>
                <a:gd name="connsiteX8" fmla="*/ 1718974 w 2679393"/>
                <a:gd name="connsiteY8" fmla="*/ 4305300 h 4914900"/>
                <a:gd name="connsiteX9" fmla="*/ 1718974 w 2679393"/>
                <a:gd name="connsiteY9" fmla="*/ 4914900 h 4914900"/>
                <a:gd name="connsiteX10" fmla="*/ 1071274 w 2679393"/>
                <a:gd name="connsiteY10" fmla="*/ 4914900 h 4914900"/>
                <a:gd name="connsiteX11" fmla="*/ 1071274 w 2679393"/>
                <a:gd name="connsiteY11" fmla="*/ 4381500 h 4914900"/>
                <a:gd name="connsiteX12" fmla="*/ 52099 w 2679393"/>
                <a:gd name="connsiteY12" fmla="*/ 4152900 h 4914900"/>
                <a:gd name="connsiteX13" fmla="*/ 52099 w 2679393"/>
                <a:gd name="connsiteY13" fmla="*/ 3133725 h 4914900"/>
                <a:gd name="connsiteX14" fmla="*/ 1214149 w 2679393"/>
                <a:gd name="connsiteY14" fmla="*/ 3533775 h 4914900"/>
                <a:gd name="connsiteX15" fmla="*/ 1366549 w 2679393"/>
                <a:gd name="connsiteY15" fmla="*/ 3086100 h 4914900"/>
                <a:gd name="connsiteX16" fmla="*/ 33049 w 2679393"/>
                <a:gd name="connsiteY16" fmla="*/ 1447800 h 4914900"/>
                <a:gd name="connsiteX17" fmla="*/ 1071274 w 2679393"/>
                <a:gd name="connsiteY17" fmla="*/ 561975 h 4914900"/>
                <a:gd name="connsiteX18" fmla="*/ 1061749 w 267939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 name="connsiteX0" fmla="*/ 1058739 w 2676383"/>
                <a:gd name="connsiteY0" fmla="*/ 0 h 4914900"/>
                <a:gd name="connsiteX1" fmla="*/ 1706439 w 2676383"/>
                <a:gd name="connsiteY1" fmla="*/ 0 h 4914900"/>
                <a:gd name="connsiteX2" fmla="*/ 1706439 w 2676383"/>
                <a:gd name="connsiteY2" fmla="*/ 523875 h 4914900"/>
                <a:gd name="connsiteX3" fmla="*/ 2497014 w 2676383"/>
                <a:gd name="connsiteY3" fmla="*/ 647700 h 4914900"/>
                <a:gd name="connsiteX4" fmla="*/ 2497014 w 2676383"/>
                <a:gd name="connsiteY4" fmla="*/ 1628775 h 4914900"/>
                <a:gd name="connsiteX5" fmla="*/ 1306389 w 2676383"/>
                <a:gd name="connsiteY5" fmla="*/ 1400175 h 4914900"/>
                <a:gd name="connsiteX6" fmla="*/ 1268289 w 2676383"/>
                <a:gd name="connsiteY6" fmla="*/ 1800225 h 4914900"/>
                <a:gd name="connsiteX7" fmla="*/ 2668464 w 2676383"/>
                <a:gd name="connsiteY7" fmla="*/ 3276600 h 4914900"/>
                <a:gd name="connsiteX8" fmla="*/ 1715964 w 2676383"/>
                <a:gd name="connsiteY8" fmla="*/ 4305300 h 4914900"/>
                <a:gd name="connsiteX9" fmla="*/ 1715964 w 2676383"/>
                <a:gd name="connsiteY9" fmla="*/ 4914900 h 4914900"/>
                <a:gd name="connsiteX10" fmla="*/ 1068264 w 2676383"/>
                <a:gd name="connsiteY10" fmla="*/ 4914900 h 4914900"/>
                <a:gd name="connsiteX11" fmla="*/ 1068264 w 2676383"/>
                <a:gd name="connsiteY11" fmla="*/ 4381500 h 4914900"/>
                <a:gd name="connsiteX12" fmla="*/ 49089 w 2676383"/>
                <a:gd name="connsiteY12" fmla="*/ 4152900 h 4914900"/>
                <a:gd name="connsiteX13" fmla="*/ 49089 w 2676383"/>
                <a:gd name="connsiteY13" fmla="*/ 3133725 h 4914900"/>
                <a:gd name="connsiteX14" fmla="*/ 1211139 w 2676383"/>
                <a:gd name="connsiteY14" fmla="*/ 3533775 h 4914900"/>
                <a:gd name="connsiteX15" fmla="*/ 1363539 w 2676383"/>
                <a:gd name="connsiteY15" fmla="*/ 3086100 h 4914900"/>
                <a:gd name="connsiteX16" fmla="*/ 30039 w 2676383"/>
                <a:gd name="connsiteY16" fmla="*/ 1447800 h 4914900"/>
                <a:gd name="connsiteX17" fmla="*/ 1068264 w 2676383"/>
                <a:gd name="connsiteY17" fmla="*/ 561975 h 4914900"/>
                <a:gd name="connsiteX18" fmla="*/ 1058739 w 2676383"/>
                <a:gd name="connsiteY18" fmla="*/ 0 h 491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676383" h="4914900">
                  <a:moveTo>
                    <a:pt x="1058739" y="0"/>
                  </a:moveTo>
                  <a:lnTo>
                    <a:pt x="1706439" y="0"/>
                  </a:lnTo>
                  <a:lnTo>
                    <a:pt x="1706439" y="523875"/>
                  </a:lnTo>
                  <a:cubicBezTo>
                    <a:pt x="2008064" y="531813"/>
                    <a:pt x="2233489" y="573087"/>
                    <a:pt x="2497014" y="647700"/>
                  </a:cubicBezTo>
                  <a:lnTo>
                    <a:pt x="2497014" y="1628775"/>
                  </a:lnTo>
                  <a:cubicBezTo>
                    <a:pt x="2047752" y="1390650"/>
                    <a:pt x="1488951" y="1281112"/>
                    <a:pt x="1306389" y="1400175"/>
                  </a:cubicBezTo>
                  <a:cubicBezTo>
                    <a:pt x="1127001" y="1471613"/>
                    <a:pt x="1142876" y="1714500"/>
                    <a:pt x="1268289" y="1800225"/>
                  </a:cubicBezTo>
                  <a:cubicBezTo>
                    <a:pt x="1425452" y="2020888"/>
                    <a:pt x="2792289" y="2236787"/>
                    <a:pt x="2668464" y="3276600"/>
                  </a:cubicBezTo>
                  <a:cubicBezTo>
                    <a:pt x="2608139" y="4000500"/>
                    <a:pt x="1966789" y="4233862"/>
                    <a:pt x="1715964" y="4305300"/>
                  </a:cubicBezTo>
                  <a:lnTo>
                    <a:pt x="1715964" y="4914900"/>
                  </a:lnTo>
                  <a:lnTo>
                    <a:pt x="1068264" y="4914900"/>
                  </a:lnTo>
                  <a:lnTo>
                    <a:pt x="1068264" y="4381500"/>
                  </a:lnTo>
                  <a:cubicBezTo>
                    <a:pt x="685676" y="4371975"/>
                    <a:pt x="222127" y="4267200"/>
                    <a:pt x="49089" y="4152900"/>
                  </a:cubicBezTo>
                  <a:lnTo>
                    <a:pt x="49089" y="3133725"/>
                  </a:lnTo>
                  <a:cubicBezTo>
                    <a:pt x="403102" y="3438525"/>
                    <a:pt x="923802" y="3562350"/>
                    <a:pt x="1211139" y="3533775"/>
                  </a:cubicBezTo>
                  <a:cubicBezTo>
                    <a:pt x="1490539" y="3503613"/>
                    <a:pt x="1498476" y="3201988"/>
                    <a:pt x="1363539" y="3086100"/>
                  </a:cubicBezTo>
                  <a:cubicBezTo>
                    <a:pt x="1176215" y="2820987"/>
                    <a:pt x="-220786" y="2727324"/>
                    <a:pt x="30039" y="1447800"/>
                  </a:cubicBezTo>
                  <a:cubicBezTo>
                    <a:pt x="142751" y="795338"/>
                    <a:pt x="798389" y="585787"/>
                    <a:pt x="1068264" y="561975"/>
                  </a:cubicBezTo>
                  <a:lnTo>
                    <a:pt x="1058739" y="0"/>
                  </a:lnTo>
                  <a:close/>
                </a:path>
              </a:pathLst>
            </a:custGeom>
            <a:solidFill>
              <a:schemeClr val="accent2"/>
            </a:solidFill>
            <a:ln>
              <a:noFill/>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44821" rIns="44821" bIns="89642" numCol="1" spcCol="0" rtlCol="0" fromWordArt="0" anchor="b" anchorCtr="0" forceAA="0" compatLnSpc="1">
              <a:prstTxWarp prst="textNoShape">
                <a:avLst/>
              </a:prstTxWarp>
              <a:noAutofit/>
            </a:bodyPr>
            <a:lstStyle/>
            <a:p>
              <a:pPr algn="ctr" defTabSz="896091"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37" name="Plus 36"/>
            <p:cNvSpPr/>
            <p:nvPr/>
          </p:nvSpPr>
          <p:spPr bwMode="auto">
            <a:xfrm>
              <a:off x="757466" y="6002120"/>
              <a:ext cx="304159" cy="304155"/>
            </a:xfrm>
            <a:prstGeom prst="mathPlus">
              <a:avLst>
                <a:gd name="adj1" fmla="val 20389"/>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54" name="Donut 53"/>
            <p:cNvSpPr/>
            <p:nvPr/>
          </p:nvSpPr>
          <p:spPr bwMode="auto">
            <a:xfrm>
              <a:off x="705442" y="5950095"/>
              <a:ext cx="408206" cy="408204"/>
            </a:xfrm>
            <a:prstGeom prst="donut">
              <a:avLst>
                <a:gd name="adj" fmla="val 9046"/>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6" name="Group 15"/>
          <p:cNvGrpSpPr/>
          <p:nvPr/>
        </p:nvGrpSpPr>
        <p:grpSpPr>
          <a:xfrm>
            <a:off x="1023482" y="3472805"/>
            <a:ext cx="0" cy="3040301"/>
            <a:chOff x="1123950" y="3347198"/>
            <a:chExt cx="0" cy="3101265"/>
          </a:xfrm>
        </p:grpSpPr>
        <p:cxnSp>
          <p:nvCxnSpPr>
            <p:cNvPr id="7" name="Straight Connector 6"/>
            <p:cNvCxnSpPr/>
            <p:nvPr/>
          </p:nvCxnSpPr>
          <p:spPr>
            <a:xfrm>
              <a:off x="1123950" y="3347198"/>
              <a:ext cx="0" cy="585216"/>
            </a:xfrm>
            <a:prstGeom prst="line">
              <a:avLst/>
            </a:prstGeom>
            <a:ln w="952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1123950" y="3978699"/>
              <a:ext cx="0" cy="585216"/>
            </a:xfrm>
            <a:prstGeom prst="line">
              <a:avLst/>
            </a:prstGeom>
            <a:ln w="9525">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a:off x="1123950" y="4606881"/>
              <a:ext cx="0" cy="585216"/>
            </a:xfrm>
            <a:prstGeom prst="line">
              <a:avLst/>
            </a:prstGeom>
            <a:ln w="9525">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a:off x="1123950" y="5235064"/>
              <a:ext cx="0" cy="585216"/>
            </a:xfrm>
            <a:prstGeom prst="line">
              <a:avLst/>
            </a:prstGeom>
            <a:ln w="9525">
              <a:solidFill>
                <a:schemeClr val="accent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a:off x="1123950" y="5863247"/>
              <a:ext cx="0" cy="585216"/>
            </a:xfrm>
            <a:prstGeom prst="line">
              <a:avLst/>
            </a:prstGeom>
            <a:ln w="9525">
              <a:solidFill>
                <a:schemeClr val="accent5"/>
              </a:solidFill>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34297737"/>
      </p:ext>
    </p:extLst>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989252" y="797734"/>
            <a:ext cx="4535248" cy="3023499"/>
          </a:xfrm>
          <a:prstGeom prst="rect">
            <a:avLst/>
          </a:prstGeom>
        </p:spPr>
      </p:pic>
      <p:pic>
        <p:nvPicPr>
          <p:cNvPr id="6" name="Picture 5"/>
          <p:cNvPicPr>
            <a:picLocks noChangeAspect="1"/>
          </p:cNvPicPr>
          <p:nvPr/>
        </p:nvPicPr>
        <p:blipFill>
          <a:blip r:embed="rId4"/>
          <a:stretch>
            <a:fillRect/>
          </a:stretch>
        </p:blipFill>
        <p:spPr>
          <a:xfrm>
            <a:off x="6546552" y="1176975"/>
            <a:ext cx="4368920" cy="2494913"/>
          </a:xfrm>
          <a:prstGeom prst="rect">
            <a:avLst/>
          </a:prstGeom>
        </p:spPr>
      </p:pic>
      <p:pic>
        <p:nvPicPr>
          <p:cNvPr id="7" name="Picture 6"/>
          <p:cNvPicPr>
            <a:picLocks noChangeAspect="1"/>
          </p:cNvPicPr>
          <p:nvPr/>
        </p:nvPicPr>
        <p:blipFill>
          <a:blip r:embed="rId5"/>
          <a:stretch>
            <a:fillRect/>
          </a:stretch>
        </p:blipFill>
        <p:spPr>
          <a:xfrm>
            <a:off x="908472" y="3946375"/>
            <a:ext cx="4616028" cy="2596516"/>
          </a:xfrm>
          <a:prstGeom prst="rect">
            <a:avLst/>
          </a:prstGeom>
        </p:spPr>
      </p:pic>
      <p:pic>
        <p:nvPicPr>
          <p:cNvPr id="8" name="Picture 7"/>
          <p:cNvPicPr>
            <a:picLocks noChangeAspect="1"/>
          </p:cNvPicPr>
          <p:nvPr/>
        </p:nvPicPr>
        <p:blipFill>
          <a:blip r:embed="rId6"/>
          <a:stretch>
            <a:fillRect/>
          </a:stretch>
        </p:blipFill>
        <p:spPr>
          <a:xfrm>
            <a:off x="6484461" y="3946375"/>
            <a:ext cx="4493102" cy="2596516"/>
          </a:xfrm>
          <a:prstGeom prst="rect">
            <a:avLst/>
          </a:prstGeom>
        </p:spPr>
      </p:pic>
      <p:cxnSp>
        <p:nvCxnSpPr>
          <p:cNvPr id="13" name="Straight Connector 12"/>
          <p:cNvCxnSpPr/>
          <p:nvPr/>
        </p:nvCxnSpPr>
        <p:spPr>
          <a:xfrm flipV="1">
            <a:off x="6110344" y="1086522"/>
            <a:ext cx="0" cy="5574708"/>
          </a:xfrm>
          <a:prstGeom prst="line">
            <a:avLst/>
          </a:prstGeom>
          <a:ln w="254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290456" y="3779468"/>
            <a:ext cx="11564471" cy="0"/>
          </a:xfrm>
          <a:prstGeom prst="line">
            <a:avLst/>
          </a:prstGeom>
          <a:ln w="25400">
            <a:solidFill>
              <a:srgbClr val="0072C6"/>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Title 2"/>
          <p:cNvSpPr>
            <a:spLocks noGrp="1"/>
          </p:cNvSpPr>
          <p:nvPr>
            <p:ph type="title"/>
          </p:nvPr>
        </p:nvSpPr>
        <p:spPr/>
        <p:txBody>
          <a:bodyPr/>
          <a:lstStyle/>
          <a:p>
            <a:r>
              <a:rPr lang="en-US" dirty="0">
                <a:solidFill>
                  <a:srgbClr val="0070C0"/>
                </a:solidFill>
              </a:rPr>
              <a:t>What can </a:t>
            </a:r>
            <a:r>
              <a:rPr lang="en-US" dirty="0" smtClean="0">
                <a:solidFill>
                  <a:srgbClr val="0070C0"/>
                </a:solidFill>
              </a:rPr>
              <a:t>customers do </a:t>
            </a:r>
            <a:r>
              <a:rPr lang="en-US" dirty="0">
                <a:solidFill>
                  <a:srgbClr val="0070C0"/>
                </a:solidFill>
              </a:rPr>
              <a:t>with $100/month benefit</a:t>
            </a:r>
            <a:r>
              <a:rPr lang="en-US" dirty="0" smtClean="0">
                <a:solidFill>
                  <a:srgbClr val="0070C0"/>
                </a:solidFill>
              </a:rPr>
              <a:t>?</a:t>
            </a:r>
            <a:endParaRPr lang="en-US" dirty="0"/>
          </a:p>
        </p:txBody>
      </p:sp>
    </p:spTree>
    <p:extLst>
      <p:ext uri="{BB962C8B-B14F-4D97-AF65-F5344CB8AC3E}">
        <p14:creationId xmlns:p14="http://schemas.microsoft.com/office/powerpoint/2010/main" val="2239015217"/>
      </p:ext>
    </p:extLst>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extLst/>
          </p:nvPr>
        </p:nvGraphicFramePr>
        <p:xfrm>
          <a:off x="2746" y="2713"/>
          <a:ext cx="1556" cy="1556"/>
        </p:xfrm>
        <a:graphic>
          <a:graphicData uri="http://schemas.openxmlformats.org/presentationml/2006/ole">
            <mc:AlternateContent xmlns:mc="http://schemas.openxmlformats.org/markup-compatibility/2006">
              <mc:Choice xmlns:v="urn:schemas-microsoft-com:vml" Requires="v">
                <p:oleObj spid="_x0000_s1167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746" y="2713"/>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solidFill>
                  <a:srgbClr val="0070C0"/>
                </a:solidFill>
              </a:rPr>
              <a:t>Ways to buy </a:t>
            </a:r>
            <a:r>
              <a:rPr lang="en-US" dirty="0" smtClean="0">
                <a:solidFill>
                  <a:srgbClr val="0070C0"/>
                </a:solidFill>
              </a:rPr>
              <a:t>Azure</a:t>
            </a:r>
            <a:endParaRPr lang="en-US" dirty="0"/>
          </a:p>
        </p:txBody>
      </p:sp>
      <p:sp>
        <p:nvSpPr>
          <p:cNvPr id="267" name="Rectangle 266"/>
          <p:cNvSpPr/>
          <p:nvPr/>
        </p:nvSpPr>
        <p:spPr bwMode="auto">
          <a:xfrm>
            <a:off x="449041" y="1252337"/>
            <a:ext cx="11098371" cy="73924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3401" rIns="179251" bIns="143401" numCol="1" spcCol="0" rtlCol="0" fromWordArt="0" anchor="t" anchorCtr="0" forceAA="0" compatLnSpc="1">
            <a:prstTxWarp prst="textNoShape">
              <a:avLst/>
            </a:prstTxWarp>
            <a:noAutofit/>
          </a:bodyPr>
          <a:lstStyle/>
          <a:p>
            <a:pPr fontAlgn="t">
              <a:defRPr/>
            </a:pPr>
            <a:r>
              <a:rPr lang="en-US" sz="2745" dirty="0">
                <a:ln w="3175">
                  <a:noFill/>
                </a:ln>
                <a:solidFill>
                  <a:srgbClr val="505050"/>
                </a:solidFill>
                <a:latin typeface="Segoe UI Light"/>
                <a:cs typeface="Segoe UI" pitchFamily="34" charset="0"/>
              </a:rPr>
              <a:t>We sell Microsoft Azure in the following ways:</a:t>
            </a:r>
          </a:p>
        </p:txBody>
      </p:sp>
      <p:graphicFrame>
        <p:nvGraphicFramePr>
          <p:cNvPr id="5" name="Table 4"/>
          <p:cNvGraphicFramePr>
            <a:graphicFrameLocks noGrp="1"/>
          </p:cNvGraphicFramePr>
          <p:nvPr>
            <p:extLst>
              <p:ext uri="{D42A27DB-BD31-4B8C-83A1-F6EECF244321}">
                <p14:modId xmlns:p14="http://schemas.microsoft.com/office/powerpoint/2010/main" val="3104126250"/>
              </p:ext>
            </p:extLst>
          </p:nvPr>
        </p:nvGraphicFramePr>
        <p:xfrm>
          <a:off x="1848482" y="2366672"/>
          <a:ext cx="8495036" cy="2888616"/>
        </p:xfrm>
        <a:graphic>
          <a:graphicData uri="http://schemas.openxmlformats.org/drawingml/2006/table">
            <a:tbl>
              <a:tblPr firstRow="1" bandRow="1">
                <a:tableStyleId>{46F890A9-2807-4EBB-B81D-B2AA78EC7F39}</a:tableStyleId>
              </a:tblPr>
              <a:tblGrid>
                <a:gridCol w="1808705"/>
                <a:gridCol w="2438813"/>
                <a:gridCol w="2123759"/>
                <a:gridCol w="2123759"/>
              </a:tblGrid>
              <a:tr h="607557">
                <a:tc>
                  <a:txBody>
                    <a:bodyPr/>
                    <a:lstStyle/>
                    <a:p>
                      <a:endParaRPr lang="en-US" sz="2000" dirty="0"/>
                    </a:p>
                  </a:txBody>
                  <a:tcPr marL="111630" marR="111630" marT="55815" marB="55815">
                    <a:lnL w="6350" cap="flat" cmpd="sng" algn="ctr">
                      <a:no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2"/>
                      </a:solidFill>
                      <a:prstDash val="solid"/>
                      <a:round/>
                      <a:headEnd type="none" w="med" len="med"/>
                      <a:tailEnd type="none" w="med" len="med"/>
                    </a:lnB>
                    <a:noFill/>
                  </a:tcPr>
                </a:tc>
                <a:tc>
                  <a:txBody>
                    <a:bodyPr/>
                    <a:lstStyle/>
                    <a:p>
                      <a:pPr algn="ctr"/>
                      <a:r>
                        <a:rPr lang="en-US" sz="2000" b="0" dirty="0" smtClean="0">
                          <a:latin typeface="+mj-lt"/>
                        </a:rPr>
                        <a:t>Microsoft</a:t>
                      </a:r>
                      <a:r>
                        <a:rPr lang="en-US" sz="2000" b="0" baseline="0" dirty="0" smtClean="0">
                          <a:latin typeface="+mj-lt"/>
                        </a:rPr>
                        <a:t>Azure.com </a:t>
                      </a:r>
                      <a:endParaRPr lang="en-US" sz="2000" b="0" dirty="0">
                        <a:latin typeface="+mj-lt"/>
                      </a:endParaRPr>
                    </a:p>
                  </a:txBody>
                  <a:tcPr marL="111630" marR="111630" marT="55815" marB="55815">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accent1"/>
                    </a:solidFill>
                  </a:tcPr>
                </a:tc>
                <a:tc>
                  <a:txBody>
                    <a:bodyPr/>
                    <a:lstStyle/>
                    <a:p>
                      <a:pPr algn="ctr"/>
                      <a:r>
                        <a:rPr lang="en-US" sz="2000" b="0" dirty="0" smtClean="0">
                          <a:latin typeface="+mj-lt"/>
                        </a:rPr>
                        <a:t>Enterprise Agreement</a:t>
                      </a:r>
                      <a:endParaRPr lang="en-US" sz="2000" b="0" dirty="0">
                        <a:latin typeface="+mj-lt"/>
                      </a:endParaRPr>
                    </a:p>
                  </a:txBody>
                  <a:tcPr marL="111630" marR="111630" marT="55815" marB="55815">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accent1"/>
                    </a:solidFill>
                  </a:tcPr>
                </a:tc>
                <a:tc>
                  <a:txBody>
                    <a:bodyPr/>
                    <a:lstStyle/>
                    <a:p>
                      <a:pPr algn="ctr"/>
                      <a:r>
                        <a:rPr lang="en-US" sz="2000" b="0" dirty="0" smtClean="0">
                          <a:latin typeface="+mj-lt"/>
                        </a:rPr>
                        <a:t>Open </a:t>
                      </a:r>
                      <a:endParaRPr lang="en-US" sz="2000" b="0" dirty="0">
                        <a:latin typeface="+mj-lt"/>
                      </a:endParaRPr>
                    </a:p>
                  </a:txBody>
                  <a:tcPr marL="111630" marR="111630" marT="55815" marB="55815">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accent1"/>
                    </a:solidFill>
                  </a:tcPr>
                </a:tc>
              </a:tr>
              <a:tr h="452722">
                <a:tc>
                  <a:txBody>
                    <a:bodyPr/>
                    <a:lstStyle/>
                    <a:p>
                      <a:pPr marL="0" algn="l" defTabSz="914367" rtl="0" eaLnBrk="1" latinLnBrk="0" hangingPunct="1"/>
                      <a:r>
                        <a:rPr lang="en-US" sz="2000" kern="1200" dirty="0" smtClean="0">
                          <a:solidFill>
                            <a:schemeClr val="tx2"/>
                          </a:solidFill>
                          <a:latin typeface="+mj-lt"/>
                          <a:ea typeface="+mn-ea"/>
                          <a:cs typeface="+mn-cs"/>
                        </a:rPr>
                        <a:t>Pay </a:t>
                      </a:r>
                      <a:r>
                        <a:rPr lang="en-US" sz="2000" kern="1200" dirty="0" smtClean="0">
                          <a:solidFill>
                            <a:schemeClr val="tx2"/>
                          </a:solidFill>
                          <a:latin typeface="+mj-lt"/>
                          <a:ea typeface="+mn-ea"/>
                          <a:cs typeface="+mn-cs"/>
                        </a:rPr>
                        <a:t>as you go</a:t>
                      </a:r>
                      <a:endParaRPr lang="en-US" sz="2000" kern="1200" dirty="0">
                        <a:solidFill>
                          <a:schemeClr val="tx2"/>
                        </a:solidFill>
                        <a:latin typeface="+mj-lt"/>
                        <a:ea typeface="+mn-ea"/>
                        <a:cs typeface="+mn-cs"/>
                      </a:endParaRPr>
                    </a:p>
                  </a:txBody>
                  <a:tcPr marL="111630" marR="111630" marT="55815" marB="55815"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alpha val="50000"/>
                      </a:schemeClr>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r>
                        <a:rPr lang="en-US" sz="4000" b="0" i="0" u="none" strike="noStrike" kern="1200" dirty="0" smtClean="0">
                          <a:solidFill>
                            <a:schemeClr val="bg1"/>
                          </a:solidFill>
                          <a:effectLst/>
                          <a:latin typeface="+mn-lt"/>
                          <a:ea typeface="+mn-ea"/>
                          <a:cs typeface="+mn-cs"/>
                          <a:sym typeface="Wingdings" panose="05000000000000000000" pitchFamily="2" charset="2"/>
                        </a:rPr>
                        <a:t></a:t>
                      </a:r>
                      <a:endParaRPr lang="en-US" sz="4000" dirty="0" smtClean="0">
                        <a:solidFill>
                          <a:schemeClr val="bg1"/>
                        </a:solidFill>
                      </a:endParaRPr>
                    </a:p>
                  </a:txBody>
                  <a:tcPr marL="111630" marR="111630" marT="55815" marB="55815">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alpha val="50000"/>
                      </a:schemeClr>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endParaRPr lang="en-US" sz="4000" dirty="0" smtClean="0">
                        <a:solidFill>
                          <a:schemeClr val="bg1"/>
                        </a:solidFill>
                      </a:endParaRPr>
                    </a:p>
                  </a:txBody>
                  <a:tcPr marL="111630" marR="111630" marT="55815" marB="55815">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alpha val="50000"/>
                      </a:schemeClr>
                    </a:solidFill>
                  </a:tcPr>
                </a:tc>
                <a:tc>
                  <a:txBody>
                    <a:bodyPr/>
                    <a:lstStyle/>
                    <a:p>
                      <a:pPr algn="ctr"/>
                      <a:endParaRPr lang="en-US" sz="4000" dirty="0">
                        <a:solidFill>
                          <a:schemeClr val="bg1"/>
                        </a:solidFill>
                      </a:endParaRPr>
                    </a:p>
                  </a:txBody>
                  <a:tcPr marL="111630" marR="111630" marT="55815" marB="55815">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alpha val="50000"/>
                      </a:schemeClr>
                    </a:solidFill>
                  </a:tcPr>
                </a:tc>
              </a:tr>
              <a:tr h="452722">
                <a:tc>
                  <a:txBody>
                    <a:bodyPr/>
                    <a:lstStyle/>
                    <a:p>
                      <a:pPr marL="0" algn="l" defTabSz="914367" rtl="0" eaLnBrk="1" latinLnBrk="0" hangingPunct="1"/>
                      <a:r>
                        <a:rPr lang="en-US" sz="2000" kern="1200" dirty="0" smtClean="0">
                          <a:solidFill>
                            <a:schemeClr val="tx2"/>
                          </a:solidFill>
                          <a:latin typeface="+mj-lt"/>
                          <a:ea typeface="+mn-ea"/>
                          <a:cs typeface="+mn-cs"/>
                        </a:rPr>
                        <a:t>Monetary </a:t>
                      </a:r>
                      <a:r>
                        <a:rPr lang="en-US" sz="2000" kern="1200" dirty="0" smtClean="0">
                          <a:solidFill>
                            <a:schemeClr val="tx2"/>
                          </a:solidFill>
                          <a:latin typeface="+mj-lt"/>
                          <a:ea typeface="+mn-ea"/>
                          <a:cs typeface="+mn-cs"/>
                        </a:rPr>
                        <a:t>commitment</a:t>
                      </a:r>
                      <a:endParaRPr lang="en-US" sz="2000" kern="1200" dirty="0">
                        <a:solidFill>
                          <a:schemeClr val="tx2"/>
                        </a:solidFill>
                        <a:latin typeface="+mj-lt"/>
                        <a:ea typeface="+mn-ea"/>
                        <a:cs typeface="+mn-cs"/>
                      </a:endParaRPr>
                    </a:p>
                  </a:txBody>
                  <a:tcPr marL="111630" marR="111630" marT="55815" marB="55815"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alpha val="25000"/>
                      </a:schemeClr>
                    </a:solidFill>
                  </a:tcPr>
                </a:tc>
                <a:tc>
                  <a:txBody>
                    <a:bodyPr/>
                    <a:lstStyle/>
                    <a:p>
                      <a:pPr marL="0" marR="0" indent="0" algn="ctr" defTabSz="914367" rtl="0" eaLnBrk="1" fontAlgn="auto" latinLnBrk="0" hangingPunct="1">
                        <a:lnSpc>
                          <a:spcPct val="100000"/>
                        </a:lnSpc>
                        <a:spcBef>
                          <a:spcPts val="0"/>
                        </a:spcBef>
                        <a:spcAft>
                          <a:spcPts val="0"/>
                        </a:spcAft>
                        <a:buClrTx/>
                        <a:buSzTx/>
                        <a:buFontTx/>
                        <a:buNone/>
                        <a:tabLst/>
                        <a:defRPr/>
                      </a:pPr>
                      <a:endParaRPr lang="en-US" sz="4000" dirty="0" smtClean="0">
                        <a:solidFill>
                          <a:schemeClr val="bg1"/>
                        </a:solidFill>
                      </a:endParaRPr>
                    </a:p>
                  </a:txBody>
                  <a:tcPr marL="111630" marR="111630" marT="55815" marB="55815">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alpha val="25000"/>
                      </a:schemeClr>
                    </a:solidFill>
                  </a:tcPr>
                </a:tc>
                <a:tc>
                  <a:txBody>
                    <a:bodyPr/>
                    <a:lstStyle/>
                    <a:p>
                      <a:pPr algn="ctr"/>
                      <a:endParaRPr lang="en-US" sz="4000" dirty="0">
                        <a:solidFill>
                          <a:schemeClr val="bg1"/>
                        </a:solidFill>
                      </a:endParaRPr>
                    </a:p>
                  </a:txBody>
                  <a:tcPr marL="111630" marR="111630" marT="55815" marB="55815">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alpha val="25000"/>
                      </a:schemeClr>
                    </a:solidFill>
                  </a:tcPr>
                </a:tc>
                <a:tc>
                  <a:txBody>
                    <a:bodyPr/>
                    <a:lstStyle/>
                    <a:p>
                      <a:pPr algn="ctr"/>
                      <a:endParaRPr lang="en-US" sz="4000" dirty="0">
                        <a:solidFill>
                          <a:schemeClr val="bg1"/>
                        </a:solidFill>
                      </a:endParaRPr>
                    </a:p>
                  </a:txBody>
                  <a:tcPr marL="111630" marR="111630" marT="55815" marB="55815">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alpha val="25000"/>
                      </a:schemeClr>
                    </a:solidFill>
                  </a:tcPr>
                </a:tc>
              </a:tr>
              <a:tr h="724926">
                <a:tc>
                  <a:txBody>
                    <a:bodyPr/>
                    <a:lstStyle/>
                    <a:p>
                      <a:pPr marL="0" algn="l" defTabSz="914367" rtl="0" eaLnBrk="1" latinLnBrk="0" hangingPunct="1"/>
                      <a:r>
                        <a:rPr lang="en-US" sz="2000" kern="1200" dirty="0" smtClean="0">
                          <a:solidFill>
                            <a:schemeClr val="tx2"/>
                          </a:solidFill>
                          <a:latin typeface="+mj-lt"/>
                          <a:ea typeface="+mn-ea"/>
                          <a:cs typeface="+mn-cs"/>
                        </a:rPr>
                        <a:t>Azure </a:t>
                      </a:r>
                      <a:r>
                        <a:rPr lang="en-US" sz="2000" kern="1200" dirty="0" smtClean="0">
                          <a:solidFill>
                            <a:schemeClr val="tx2"/>
                          </a:solidFill>
                          <a:latin typeface="+mj-lt"/>
                          <a:ea typeface="+mn-ea"/>
                          <a:cs typeface="+mn-cs"/>
                        </a:rPr>
                        <a:t>plans</a:t>
                      </a:r>
                      <a:endParaRPr lang="en-US" sz="2000" kern="1200" dirty="0">
                        <a:solidFill>
                          <a:schemeClr val="tx2"/>
                        </a:solidFill>
                        <a:latin typeface="+mj-lt"/>
                        <a:ea typeface="+mn-ea"/>
                        <a:cs typeface="+mn-cs"/>
                      </a:endParaRPr>
                    </a:p>
                  </a:txBody>
                  <a:tcPr marL="111630" marR="111630" marT="55815" marB="55815"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alpha val="50000"/>
                      </a:schemeClr>
                    </a:solidFill>
                  </a:tcPr>
                </a:tc>
                <a:tc>
                  <a:txBody>
                    <a:bodyPr/>
                    <a:lstStyle/>
                    <a:p>
                      <a:pPr algn="ctr"/>
                      <a:endParaRPr lang="en-US" sz="4000" dirty="0">
                        <a:solidFill>
                          <a:schemeClr val="bg1"/>
                        </a:solidFill>
                      </a:endParaRPr>
                    </a:p>
                  </a:txBody>
                  <a:tcPr marL="111630" marR="111630" marT="55815" marB="55815">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alpha val="50000"/>
                      </a:schemeClr>
                    </a:solidFill>
                  </a:tcPr>
                </a:tc>
                <a:tc>
                  <a:txBody>
                    <a:bodyPr/>
                    <a:lstStyle/>
                    <a:p>
                      <a:pPr algn="ctr"/>
                      <a:endParaRPr lang="en-US" sz="4000" dirty="0">
                        <a:solidFill>
                          <a:schemeClr val="bg1"/>
                        </a:solidFill>
                      </a:endParaRPr>
                    </a:p>
                  </a:txBody>
                  <a:tcPr marL="111630" marR="111630" marT="55815" marB="55815">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alpha val="50000"/>
                      </a:schemeClr>
                    </a:solidFill>
                  </a:tcPr>
                </a:tc>
                <a:tc>
                  <a:txBody>
                    <a:bodyPr/>
                    <a:lstStyle/>
                    <a:p>
                      <a:pPr algn="ctr"/>
                      <a:endParaRPr lang="en-US" sz="4000" dirty="0">
                        <a:solidFill>
                          <a:schemeClr val="bg1"/>
                        </a:solidFill>
                      </a:endParaRPr>
                    </a:p>
                  </a:txBody>
                  <a:tcPr marL="111630" marR="111630" marT="55815" marB="55815">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2">
                        <a:alpha val="50000"/>
                      </a:schemeClr>
                    </a:solidFill>
                  </a:tcPr>
                </a:tc>
              </a:tr>
            </a:tbl>
          </a:graphicData>
        </a:graphic>
      </p:graphicFrame>
      <p:sp>
        <p:nvSpPr>
          <p:cNvPr id="7" name="Oval 6"/>
          <p:cNvSpPr/>
          <p:nvPr/>
        </p:nvSpPr>
        <p:spPr bwMode="auto">
          <a:xfrm>
            <a:off x="4612193" y="3152931"/>
            <a:ext cx="498790" cy="498790"/>
          </a:xfrm>
          <a:prstGeom prst="ellipse">
            <a:avLst/>
          </a:prstGeom>
          <a:solidFill>
            <a:srgbClr val="8E8E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200" dirty="0">
                <a:solidFill>
                  <a:srgbClr val="FFFFFF"/>
                </a:solidFill>
                <a:sym typeface="Wingdings" panose="05000000000000000000" pitchFamily="2" charset="2"/>
              </a:rPr>
              <a:t></a:t>
            </a: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7" name="Oval 26"/>
          <p:cNvSpPr/>
          <p:nvPr/>
        </p:nvSpPr>
        <p:spPr bwMode="auto">
          <a:xfrm>
            <a:off x="4612193" y="3886807"/>
            <a:ext cx="498790" cy="498790"/>
          </a:xfrm>
          <a:prstGeom prst="ellipse">
            <a:avLst/>
          </a:prstGeom>
          <a:solidFill>
            <a:srgbClr val="8E8E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200" dirty="0">
                <a:solidFill>
                  <a:srgbClr val="FFFFFF"/>
                </a:solidFill>
                <a:sym typeface="Wingdings" panose="05000000000000000000" pitchFamily="2" charset="2"/>
              </a:rPr>
              <a:t></a:t>
            </a: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8" name="Oval 27"/>
          <p:cNvSpPr/>
          <p:nvPr/>
        </p:nvSpPr>
        <p:spPr bwMode="auto">
          <a:xfrm>
            <a:off x="6832879" y="3886807"/>
            <a:ext cx="498790" cy="498790"/>
          </a:xfrm>
          <a:prstGeom prst="ellipse">
            <a:avLst/>
          </a:prstGeom>
          <a:solidFill>
            <a:srgbClr val="8E8E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200" dirty="0">
                <a:solidFill>
                  <a:srgbClr val="FFFFFF"/>
                </a:solidFill>
                <a:sym typeface="Wingdings" panose="05000000000000000000" pitchFamily="2" charset="2"/>
              </a:rPr>
              <a:t></a:t>
            </a: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9" name="Oval 28"/>
          <p:cNvSpPr/>
          <p:nvPr/>
        </p:nvSpPr>
        <p:spPr bwMode="auto">
          <a:xfrm>
            <a:off x="6832879" y="3152931"/>
            <a:ext cx="498790" cy="498790"/>
          </a:xfrm>
          <a:prstGeom prst="ellipse">
            <a:avLst/>
          </a:prstGeom>
          <a:solidFill>
            <a:srgbClr val="8E8E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200" dirty="0">
                <a:solidFill>
                  <a:srgbClr val="FFFFFF"/>
                </a:solidFill>
                <a:sym typeface="Wingdings" panose="05000000000000000000" pitchFamily="2" charset="2"/>
              </a:rPr>
              <a:t></a:t>
            </a: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Oval 29"/>
          <p:cNvSpPr/>
          <p:nvPr/>
        </p:nvSpPr>
        <p:spPr bwMode="auto">
          <a:xfrm>
            <a:off x="6832879" y="4615821"/>
            <a:ext cx="498790" cy="498790"/>
          </a:xfrm>
          <a:prstGeom prst="ellipse">
            <a:avLst/>
          </a:prstGeom>
          <a:solidFill>
            <a:srgbClr val="8E8E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200" dirty="0">
                <a:solidFill>
                  <a:srgbClr val="FFFFFF"/>
                </a:solidFill>
                <a:sym typeface="Wingdings" panose="05000000000000000000" pitchFamily="2" charset="2"/>
              </a:rPr>
              <a:t></a:t>
            </a: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Oval 30"/>
          <p:cNvSpPr/>
          <p:nvPr/>
        </p:nvSpPr>
        <p:spPr bwMode="auto">
          <a:xfrm>
            <a:off x="9023420" y="4615821"/>
            <a:ext cx="498790" cy="498790"/>
          </a:xfrm>
          <a:prstGeom prst="ellipse">
            <a:avLst/>
          </a:prstGeom>
          <a:solidFill>
            <a:srgbClr val="8E8E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3600" dirty="0">
                <a:solidFill>
                  <a:srgbClr val="FFFFFF"/>
                </a:solidFill>
                <a:sym typeface="Wingdings" panose="05000000000000000000" pitchFamily="2" charset="2"/>
              </a:rPr>
              <a:t></a:t>
            </a:r>
            <a:endParaRPr lang="en-US" sz="20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2" name="Oval 31"/>
          <p:cNvSpPr/>
          <p:nvPr/>
        </p:nvSpPr>
        <p:spPr bwMode="auto">
          <a:xfrm>
            <a:off x="9023420" y="3886807"/>
            <a:ext cx="498790" cy="498790"/>
          </a:xfrm>
          <a:prstGeom prst="ellipse">
            <a:avLst/>
          </a:prstGeom>
          <a:solidFill>
            <a:srgbClr val="8E8E8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274320"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4000" dirty="0">
                <a:solidFill>
                  <a:srgbClr val="FFFFFF"/>
                </a:solidFill>
                <a:sym typeface="Wingdings" panose="05000000000000000000" pitchFamily="2" charset="2"/>
              </a:rPr>
              <a:t></a:t>
            </a: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990774444"/>
      </p:ext>
    </p:extLst>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9" name="Rectangle 218"/>
          <p:cNvSpPr/>
          <p:nvPr/>
        </p:nvSpPr>
        <p:spPr bwMode="auto">
          <a:xfrm>
            <a:off x="6781222" y="1264830"/>
            <a:ext cx="4248139" cy="5226613"/>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1" tIns="41813" rIns="179251" bIns="143401" numCol="1" spcCol="0" rtlCol="0" fromWordArt="0" anchor="t" anchorCtr="0" forceAA="0" compatLnSpc="1">
            <a:prstTxWarp prst="textNoShape">
              <a:avLst/>
            </a:prstTxWarp>
            <a:noAutofit/>
          </a:bodyPr>
          <a:lstStyle/>
          <a:p>
            <a:pPr algn="ctr" fontAlgn="t">
              <a:defRPr/>
            </a:pPr>
            <a:r>
              <a:rPr lang="en-US" sz="1829" dirty="0">
                <a:solidFill>
                  <a:srgbClr val="505050"/>
                </a:solidFill>
                <a:cs typeface="Segoe UI" panose="020B0502040204020203" pitchFamily="34" charset="0"/>
              </a:rPr>
              <a:t>Monetary </a:t>
            </a:r>
            <a:r>
              <a:rPr lang="en-US" sz="1829" dirty="0" smtClean="0">
                <a:solidFill>
                  <a:srgbClr val="505050"/>
                </a:solidFill>
                <a:cs typeface="Segoe UI" panose="020B0502040204020203" pitchFamily="34" charset="0"/>
              </a:rPr>
              <a:t>commitment</a:t>
            </a:r>
            <a:endParaRPr lang="en-US" sz="1829" dirty="0">
              <a:solidFill>
                <a:srgbClr val="505050"/>
              </a:solidFill>
              <a:cs typeface="Segoe UI" panose="020B0502040204020203" pitchFamily="34" charset="0"/>
            </a:endParaRPr>
          </a:p>
        </p:txBody>
      </p:sp>
      <p:sp>
        <p:nvSpPr>
          <p:cNvPr id="218" name="Rectangle 217"/>
          <p:cNvSpPr/>
          <p:nvPr/>
        </p:nvSpPr>
        <p:spPr bwMode="auto">
          <a:xfrm>
            <a:off x="6971135" y="1712828"/>
            <a:ext cx="3872406" cy="4610229"/>
          </a:xfrm>
          <a:prstGeom prst="rect">
            <a:avLst/>
          </a:prstGeom>
          <a:solidFill>
            <a:srgbClr val="E5E5E5"/>
          </a:solidFill>
          <a:ln w="95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38" tIns="41813" rIns="134438" bIns="89625" numCol="1" spcCol="0" rtlCol="0" fromWordArt="0" anchor="t" anchorCtr="0" forceAA="0" compatLnSpc="1">
            <a:prstTxWarp prst="textNoShape">
              <a:avLst/>
            </a:prstTxWarp>
            <a:noAutofit/>
          </a:bodyPr>
          <a:lstStyle/>
          <a:p>
            <a:pPr algn="ctr" defTabSz="913998">
              <a:spcBef>
                <a:spcPts val="1765"/>
              </a:spcBef>
              <a:spcAft>
                <a:spcPts val="1176"/>
              </a:spcAft>
            </a:pPr>
            <a:r>
              <a:rPr lang="en-US" sz="1464" dirty="0">
                <a:solidFill>
                  <a:srgbClr val="505050"/>
                </a:solidFill>
                <a:cs typeface="Segoe UI" panose="020B0502040204020203" pitchFamily="34" charset="0"/>
              </a:rPr>
              <a:t>Pay </a:t>
            </a:r>
            <a:r>
              <a:rPr lang="en-US" sz="1464" dirty="0" smtClean="0">
                <a:solidFill>
                  <a:srgbClr val="505050"/>
                </a:solidFill>
                <a:cs typeface="Segoe UI" panose="020B0502040204020203" pitchFamily="34" charset="0"/>
              </a:rPr>
              <a:t>as you go</a:t>
            </a:r>
            <a:endParaRPr lang="en-US" sz="1464" dirty="0">
              <a:solidFill>
                <a:srgbClr val="505050"/>
              </a:solidFill>
              <a:cs typeface="Segoe UI" panose="020B0502040204020203" pitchFamily="34" charset="0"/>
            </a:endParaRPr>
          </a:p>
        </p:txBody>
      </p:sp>
      <p:graphicFrame>
        <p:nvGraphicFramePr>
          <p:cNvPr id="40" name="Object 39" hidden="1"/>
          <p:cNvGraphicFramePr>
            <a:graphicFrameLocks noChangeAspect="1"/>
          </p:cNvGraphicFramePr>
          <p:nvPr>
            <p:custDataLst>
              <p:tags r:id="rId2"/>
            </p:custDataLst>
            <p:extLst/>
          </p:nvPr>
        </p:nvGraphicFramePr>
        <p:xfrm>
          <a:off x="2746" y="2713"/>
          <a:ext cx="1556" cy="1556"/>
        </p:xfrm>
        <a:graphic>
          <a:graphicData uri="http://schemas.openxmlformats.org/presentationml/2006/ole">
            <mc:AlternateContent xmlns:mc="http://schemas.openxmlformats.org/markup-compatibility/2006">
              <mc:Choice xmlns:v="urn:schemas-microsoft-com:vml" Requires="v">
                <p:oleObj spid="_x0000_s11780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746" y="2713"/>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dirty="0">
                <a:solidFill>
                  <a:srgbClr val="0070C0"/>
                </a:solidFill>
              </a:rPr>
              <a:t>Ways to buy: </a:t>
            </a:r>
            <a:r>
              <a:rPr lang="en-US" dirty="0" smtClean="0">
                <a:solidFill>
                  <a:srgbClr val="0070C0"/>
                </a:solidFill>
              </a:rPr>
              <a:t>monetary </a:t>
            </a:r>
            <a:r>
              <a:rPr lang="en-US" dirty="0" smtClean="0">
                <a:solidFill>
                  <a:srgbClr val="0070C0"/>
                </a:solidFill>
              </a:rPr>
              <a:t>commitment</a:t>
            </a:r>
            <a:endParaRPr lang="en-US" dirty="0"/>
          </a:p>
        </p:txBody>
      </p:sp>
      <p:sp>
        <p:nvSpPr>
          <p:cNvPr id="267" name="Rectangle 266"/>
          <p:cNvSpPr/>
          <p:nvPr/>
        </p:nvSpPr>
        <p:spPr bwMode="auto">
          <a:xfrm>
            <a:off x="521911" y="2480268"/>
            <a:ext cx="6011752" cy="2254071"/>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0" rIns="91440" bIns="91440" numCol="1" spcCol="0" rtlCol="0" fromWordArt="0" anchor="t" anchorCtr="0" forceAA="0" compatLnSpc="1">
            <a:prstTxWarp prst="textNoShape">
              <a:avLst/>
            </a:prstTxWarp>
            <a:noAutofit/>
          </a:bodyPr>
          <a:lstStyle/>
          <a:p>
            <a:pPr fontAlgn="t">
              <a:defRPr/>
            </a:pPr>
            <a:endParaRPr lang="en-US" sz="1097" dirty="0">
              <a:solidFill>
                <a:srgbClr val="000000"/>
              </a:solidFill>
              <a:latin typeface="Segoe UI Semibold" panose="020B0702040204020203" pitchFamily="34" charset="0"/>
              <a:ea typeface="Segoe UI" pitchFamily="34" charset="0"/>
              <a:cs typeface="Segoe UI Semibold" panose="020B0702040204020203" pitchFamily="34" charset="0"/>
            </a:endParaRPr>
          </a:p>
          <a:p>
            <a:pPr marL="261324" indent="-261324" fontAlgn="t">
              <a:buFont typeface="Arial" panose="020B0604020202020204" pitchFamily="34" charset="0"/>
              <a:buChar char="•"/>
              <a:defRPr/>
            </a:pPr>
            <a:r>
              <a:rPr lang="en-US" sz="1570" dirty="0">
                <a:solidFill>
                  <a:srgbClr val="000000"/>
                </a:solidFill>
                <a:cs typeface="Segoe UI" panose="020B0502040204020203" pitchFamily="34" charset="0"/>
              </a:rPr>
              <a:t>Deposit for use on </a:t>
            </a:r>
            <a:r>
              <a:rPr lang="en-US" sz="1570" u="sng" dirty="0">
                <a:solidFill>
                  <a:srgbClr val="000000"/>
                </a:solidFill>
                <a:cs typeface="Segoe UI" panose="020B0502040204020203" pitchFamily="34" charset="0"/>
              </a:rPr>
              <a:t>eligible</a:t>
            </a:r>
            <a:r>
              <a:rPr lang="en-US" sz="1570" dirty="0">
                <a:solidFill>
                  <a:srgbClr val="000000"/>
                </a:solidFill>
                <a:cs typeface="Segoe UI" panose="020B0502040204020203" pitchFamily="34" charset="0"/>
              </a:rPr>
              <a:t> Azure </a:t>
            </a:r>
            <a:r>
              <a:rPr lang="en-US" sz="1570" dirty="0" smtClean="0">
                <a:solidFill>
                  <a:srgbClr val="000000"/>
                </a:solidFill>
                <a:cs typeface="Segoe UI" panose="020B0502040204020203" pitchFamily="34" charset="0"/>
              </a:rPr>
              <a:t>pay-</a:t>
            </a:r>
            <a:r>
              <a:rPr lang="en-US" sz="1570" dirty="0" smtClean="0">
                <a:solidFill>
                  <a:srgbClr val="000000"/>
                </a:solidFill>
                <a:cs typeface="Segoe UI" panose="020B0502040204020203" pitchFamily="34" charset="0"/>
              </a:rPr>
              <a:t>a</a:t>
            </a:r>
            <a:r>
              <a:rPr lang="en-US" sz="1570" dirty="0" smtClean="0">
                <a:solidFill>
                  <a:srgbClr val="000000"/>
                </a:solidFill>
                <a:cs typeface="Segoe UI" panose="020B0502040204020203" pitchFamily="34" charset="0"/>
              </a:rPr>
              <a:t>s-you-go </a:t>
            </a:r>
            <a:r>
              <a:rPr lang="en-US" sz="1570" dirty="0">
                <a:solidFill>
                  <a:srgbClr val="000000"/>
                </a:solidFill>
                <a:cs typeface="Segoe UI" panose="020B0502040204020203" pitchFamily="34" charset="0"/>
              </a:rPr>
              <a:t>services</a:t>
            </a:r>
          </a:p>
          <a:p>
            <a:pPr marL="261324" indent="-261324" fontAlgn="t">
              <a:buFont typeface="Arial" panose="020B0604020202020204" pitchFamily="34" charset="0"/>
              <a:buChar char="•"/>
              <a:defRPr/>
            </a:pPr>
            <a:r>
              <a:rPr lang="en-US" sz="1570" dirty="0">
                <a:solidFill>
                  <a:srgbClr val="000000"/>
                </a:solidFill>
                <a:cs typeface="Segoe UI" panose="020B0502040204020203" pitchFamily="34" charset="0"/>
              </a:rPr>
              <a:t>Provides </a:t>
            </a:r>
            <a:r>
              <a:rPr lang="en-US" sz="1570" dirty="0" smtClean="0">
                <a:solidFill>
                  <a:srgbClr val="000000"/>
                </a:solidFill>
                <a:cs typeface="Segoe UI" panose="020B0502040204020203" pitchFamily="34" charset="0"/>
              </a:rPr>
              <a:t>short-term billing in Enterprise Agreements (EA)</a:t>
            </a:r>
            <a:endParaRPr lang="en-US" sz="1570" dirty="0">
              <a:solidFill>
                <a:srgbClr val="000000"/>
              </a:solidFill>
              <a:cs typeface="Segoe UI" panose="020B0502040204020203" pitchFamily="34" charset="0"/>
            </a:endParaRPr>
          </a:p>
          <a:p>
            <a:pPr marL="261324" indent="-261324" fontAlgn="t">
              <a:buFont typeface="Arial" panose="020B0604020202020204" pitchFamily="34" charset="0"/>
              <a:buChar char="•"/>
              <a:defRPr/>
            </a:pPr>
            <a:r>
              <a:rPr lang="en-US" sz="1570" dirty="0">
                <a:solidFill>
                  <a:srgbClr val="000000"/>
                </a:solidFill>
                <a:cs typeface="Segoe UI" panose="020B0502040204020203" pitchFamily="34" charset="0"/>
              </a:rPr>
              <a:t>Take advantage of potential offers</a:t>
            </a:r>
          </a:p>
          <a:p>
            <a:pPr marL="261324" indent="-261324" fontAlgn="t">
              <a:buFont typeface="Arial" panose="020B0604020202020204" pitchFamily="34" charset="0"/>
              <a:buChar char="•"/>
              <a:defRPr/>
            </a:pPr>
            <a:r>
              <a:rPr lang="en-US" sz="1570" dirty="0">
                <a:solidFill>
                  <a:srgbClr val="000000"/>
                </a:solidFill>
                <a:cs typeface="Segoe UI" panose="020B0502040204020203" pitchFamily="34" charset="0"/>
              </a:rPr>
              <a:t>Good until EA anniversary (</a:t>
            </a:r>
            <a:r>
              <a:rPr lang="en-US" sz="1570" dirty="0" smtClean="0">
                <a:solidFill>
                  <a:srgbClr val="000000"/>
                </a:solidFill>
                <a:cs typeface="Segoe UI" panose="020B0502040204020203" pitchFamily="34" charset="0"/>
              </a:rPr>
              <a:t>maximum </a:t>
            </a:r>
            <a:r>
              <a:rPr lang="en-US" sz="1570" dirty="0">
                <a:solidFill>
                  <a:srgbClr val="000000"/>
                </a:solidFill>
                <a:cs typeface="Segoe UI" panose="020B0502040204020203" pitchFamily="34" charset="0"/>
              </a:rPr>
              <a:t>12 </a:t>
            </a:r>
            <a:r>
              <a:rPr lang="en-US" sz="1570" dirty="0" smtClean="0">
                <a:solidFill>
                  <a:srgbClr val="000000"/>
                </a:solidFill>
                <a:cs typeface="Segoe UI" panose="020B0502040204020203" pitchFamily="34" charset="0"/>
              </a:rPr>
              <a:t>months)</a:t>
            </a:r>
            <a:endParaRPr lang="en-US" sz="1570" dirty="0">
              <a:solidFill>
                <a:srgbClr val="000000"/>
              </a:solidFill>
              <a:cs typeface="Segoe UI" panose="020B0502040204020203" pitchFamily="34" charset="0"/>
            </a:endParaRPr>
          </a:p>
          <a:p>
            <a:pPr marL="261324" indent="-261324" fontAlgn="t">
              <a:buFont typeface="Arial" panose="020B0604020202020204" pitchFamily="34" charset="0"/>
              <a:buChar char="•"/>
              <a:defRPr/>
            </a:pPr>
            <a:r>
              <a:rPr lang="en-US" sz="1570" dirty="0">
                <a:solidFill>
                  <a:srgbClr val="000000"/>
                </a:solidFill>
                <a:cs typeface="Segoe UI" panose="020B0502040204020203" pitchFamily="34" charset="0"/>
              </a:rPr>
              <a:t>Have a use plan based on available </a:t>
            </a:r>
            <a:r>
              <a:rPr lang="en-US" sz="1570" dirty="0" smtClean="0">
                <a:solidFill>
                  <a:srgbClr val="000000"/>
                </a:solidFill>
                <a:cs typeface="Segoe UI" panose="020B0502040204020203" pitchFamily="34" charset="0"/>
              </a:rPr>
              <a:t>pay-as-you-go services </a:t>
            </a:r>
            <a:r>
              <a:rPr lang="en-US" sz="1570" dirty="0">
                <a:solidFill>
                  <a:srgbClr val="000000"/>
                </a:solidFill>
                <a:cs typeface="Segoe UI" panose="020B0502040204020203" pitchFamily="34" charset="0"/>
              </a:rPr>
              <a:t>at time of commitment</a:t>
            </a:r>
          </a:p>
          <a:p>
            <a:pPr marL="261324" indent="-261324" fontAlgn="t">
              <a:buFont typeface="Arial" panose="020B0604020202020204" pitchFamily="34" charset="0"/>
              <a:buChar char="•"/>
              <a:defRPr/>
            </a:pPr>
            <a:r>
              <a:rPr lang="en-US" sz="1570" u="sng" dirty="0">
                <a:solidFill>
                  <a:srgbClr val="000000"/>
                </a:solidFill>
                <a:cs typeface="Segoe UI" panose="020B0502040204020203" pitchFamily="34" charset="0"/>
              </a:rPr>
              <a:t>Can’t be used</a:t>
            </a:r>
            <a:r>
              <a:rPr lang="en-US" sz="1570" dirty="0">
                <a:solidFill>
                  <a:srgbClr val="000000"/>
                </a:solidFill>
                <a:cs typeface="Segoe UI" panose="020B0502040204020203" pitchFamily="34" charset="0"/>
              </a:rPr>
              <a:t> on Azure </a:t>
            </a:r>
            <a:r>
              <a:rPr lang="en-US" sz="1570" dirty="0" smtClean="0">
                <a:solidFill>
                  <a:srgbClr val="000000"/>
                </a:solidFill>
                <a:cs typeface="Segoe UI" panose="020B0502040204020203" pitchFamily="34" charset="0"/>
              </a:rPr>
              <a:t>plans</a:t>
            </a:r>
            <a:r>
              <a:rPr lang="en-US" sz="1570" dirty="0">
                <a:solidFill>
                  <a:srgbClr val="000000"/>
                </a:solidFill>
                <a:cs typeface="Segoe UI" panose="020B0502040204020203" pitchFamily="34" charset="0"/>
              </a:rPr>
              <a:t>, </a:t>
            </a:r>
            <a:r>
              <a:rPr lang="en-US" sz="1570" dirty="0" smtClean="0">
                <a:solidFill>
                  <a:srgbClr val="000000"/>
                </a:solidFill>
                <a:cs typeface="Segoe UI" panose="020B0502040204020203" pitchFamily="34" charset="0"/>
              </a:rPr>
              <a:t>support</a:t>
            </a:r>
            <a:r>
              <a:rPr lang="en-US" sz="1570" dirty="0">
                <a:solidFill>
                  <a:srgbClr val="000000"/>
                </a:solidFill>
                <a:cs typeface="Segoe UI" panose="020B0502040204020203" pitchFamily="34" charset="0"/>
              </a:rPr>
              <a:t>, </a:t>
            </a:r>
            <a:r>
              <a:rPr lang="en-US" sz="1570" dirty="0" smtClean="0">
                <a:solidFill>
                  <a:srgbClr val="000000"/>
                </a:solidFill>
                <a:cs typeface="Segoe UI" panose="020B0502040204020203" pitchFamily="34" charset="0"/>
              </a:rPr>
              <a:t>store, or </a:t>
            </a:r>
            <a:r>
              <a:rPr lang="en-US" sz="1570" dirty="0">
                <a:solidFill>
                  <a:srgbClr val="000000"/>
                </a:solidFill>
                <a:cs typeface="Segoe UI" panose="020B0502040204020203" pitchFamily="34" charset="0"/>
              </a:rPr>
              <a:t>other EA </a:t>
            </a:r>
            <a:r>
              <a:rPr lang="en-US" sz="1570" dirty="0" smtClean="0">
                <a:solidFill>
                  <a:srgbClr val="000000"/>
                </a:solidFill>
                <a:cs typeface="Segoe UI" panose="020B0502040204020203" pitchFamily="34" charset="0"/>
              </a:rPr>
              <a:t>products and services</a:t>
            </a:r>
            <a:endParaRPr lang="en-US" sz="1570" dirty="0">
              <a:solidFill>
                <a:srgbClr val="000000"/>
              </a:solidFill>
              <a:cs typeface="Segoe UI" panose="020B0502040204020203" pitchFamily="34" charset="0"/>
            </a:endParaRPr>
          </a:p>
          <a:p>
            <a:pPr fontAlgn="t">
              <a:defRPr/>
            </a:pPr>
            <a:endParaRPr lang="en-US" sz="2561" dirty="0">
              <a:solidFill>
                <a:srgbClr val="000000"/>
              </a:solidFill>
              <a:latin typeface="Segoe UI Bold" panose="020B0802040204020203" pitchFamily="34" charset="0"/>
              <a:ea typeface="Segoe UI" pitchFamily="34" charset="0"/>
              <a:cs typeface="Segoe UI Bold" panose="020B0802040204020203" pitchFamily="34" charset="0"/>
            </a:endParaRPr>
          </a:p>
          <a:p>
            <a:pPr fontAlgn="t">
              <a:defRPr/>
            </a:pPr>
            <a:endParaRPr lang="en-US" sz="731" dirty="0">
              <a:solidFill>
                <a:srgbClr val="000000"/>
              </a:solidFill>
              <a:latin typeface="Segoe UI Semibold" panose="020B0702040204020203" pitchFamily="34" charset="0"/>
              <a:ea typeface="Segoe UI" pitchFamily="34" charset="0"/>
              <a:cs typeface="Segoe UI" pitchFamily="34" charset="0"/>
            </a:endParaRPr>
          </a:p>
        </p:txBody>
      </p:sp>
      <p:grpSp>
        <p:nvGrpSpPr>
          <p:cNvPr id="75" name="Group 74"/>
          <p:cNvGrpSpPr/>
          <p:nvPr/>
        </p:nvGrpSpPr>
        <p:grpSpPr>
          <a:xfrm>
            <a:off x="7092690" y="2026225"/>
            <a:ext cx="3629296" cy="4165810"/>
            <a:chOff x="9591673" y="2320023"/>
            <a:chExt cx="3968425" cy="4555073"/>
          </a:xfrm>
        </p:grpSpPr>
        <p:grpSp>
          <p:nvGrpSpPr>
            <p:cNvPr id="87" name="Group 86"/>
            <p:cNvGrpSpPr/>
            <p:nvPr/>
          </p:nvGrpSpPr>
          <p:grpSpPr>
            <a:xfrm>
              <a:off x="9591673" y="6012698"/>
              <a:ext cx="3968425" cy="862398"/>
              <a:chOff x="554883" y="5358815"/>
              <a:chExt cx="3702792" cy="804672"/>
            </a:xfrm>
          </p:grpSpPr>
          <p:sp>
            <p:nvSpPr>
              <p:cNvPr id="192" name="Rectangle 191"/>
              <p:cNvSpPr/>
              <p:nvPr/>
            </p:nvSpPr>
            <p:spPr bwMode="auto">
              <a:xfrm>
                <a:off x="554883" y="5358815"/>
                <a:ext cx="3702792" cy="804672"/>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12" tIns="44812" rIns="44812" bIns="44812" numCol="1" rtlCol="0" anchor="b" anchorCtr="0" compatLnSpc="1">
                <a:prstTxWarp prst="textNoShape">
                  <a:avLst/>
                </a:prstTxWarp>
              </a:bodyPr>
              <a:lstStyle/>
              <a:p>
                <a:pPr algn="ctr" defTabSz="913731" fontAlgn="base">
                  <a:spcBef>
                    <a:spcPct val="0"/>
                  </a:spcBef>
                  <a:spcAft>
                    <a:spcPct val="0"/>
                  </a:spcAft>
                </a:pPr>
                <a:endParaRPr lang="en-US" sz="882" dirty="0">
                  <a:solidFill>
                    <a:srgbClr val="FFFFFF"/>
                  </a:solidFill>
                </a:endParaRPr>
              </a:p>
            </p:txBody>
          </p:sp>
          <p:grpSp>
            <p:nvGrpSpPr>
              <p:cNvPr id="193" name="Group 192"/>
              <p:cNvGrpSpPr/>
              <p:nvPr/>
            </p:nvGrpSpPr>
            <p:grpSpPr>
              <a:xfrm>
                <a:off x="614049" y="5418251"/>
                <a:ext cx="3584461" cy="685800"/>
                <a:chOff x="-3552475" y="5417010"/>
                <a:chExt cx="3584461" cy="685800"/>
              </a:xfrm>
            </p:grpSpPr>
            <p:sp>
              <p:nvSpPr>
                <p:cNvPr id="194" name="Rectangle 193"/>
                <p:cNvSpPr/>
                <p:nvPr/>
              </p:nvSpPr>
              <p:spPr bwMode="auto">
                <a:xfrm>
                  <a:off x="-3552475" y="5417010"/>
                  <a:ext cx="868680" cy="685800"/>
                </a:xfrm>
                <a:prstGeom prst="rect">
                  <a:avLst/>
                </a:prstGeom>
                <a:solidFill>
                  <a:srgbClr val="7F7F7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a:solidFill>
                        <a:srgbClr val="FFFFFF"/>
                      </a:solidFill>
                    </a:rPr>
                    <a:t>ExpressRoute</a:t>
                  </a:r>
                </a:p>
              </p:txBody>
            </p:sp>
            <p:sp>
              <p:nvSpPr>
                <p:cNvPr id="195" name="Rectangle 194"/>
                <p:cNvSpPr/>
                <p:nvPr/>
              </p:nvSpPr>
              <p:spPr bwMode="auto">
                <a:xfrm>
                  <a:off x="-2647215" y="5417010"/>
                  <a:ext cx="868680" cy="685800"/>
                </a:xfrm>
                <a:prstGeom prst="rect">
                  <a:avLst/>
                </a:prstGeom>
                <a:solidFill>
                  <a:srgbClr val="7F7F7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a:solidFill>
                        <a:srgbClr val="FFFFFF"/>
                      </a:solidFill>
                    </a:rPr>
                    <a:t>Virtual Network</a:t>
                  </a:r>
                </a:p>
              </p:txBody>
            </p:sp>
            <p:sp>
              <p:nvSpPr>
                <p:cNvPr id="196" name="Rectangle 195"/>
                <p:cNvSpPr/>
                <p:nvPr/>
              </p:nvSpPr>
              <p:spPr bwMode="auto">
                <a:xfrm>
                  <a:off x="-1741955" y="5417010"/>
                  <a:ext cx="868680" cy="685800"/>
                </a:xfrm>
                <a:prstGeom prst="rect">
                  <a:avLst/>
                </a:prstGeom>
                <a:solidFill>
                  <a:srgbClr val="7F7F7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a:solidFill>
                        <a:srgbClr val="FFFFFF"/>
                      </a:solidFill>
                    </a:rPr>
                    <a:t>Data </a:t>
                  </a:r>
                  <a:r>
                    <a:rPr lang="en-US" sz="783" b="1" dirty="0">
                      <a:solidFill>
                        <a:srgbClr val="FFFFFF"/>
                      </a:solidFill>
                    </a:rPr>
                    <a:t>T</a:t>
                  </a:r>
                  <a:r>
                    <a:rPr lang="en-US" sz="783" b="1" dirty="0" smtClean="0">
                      <a:solidFill>
                        <a:srgbClr val="FFFFFF"/>
                      </a:solidFill>
                    </a:rPr>
                    <a:t>ransfer</a:t>
                  </a:r>
                  <a:endParaRPr lang="en-US" sz="783" b="1" dirty="0">
                    <a:solidFill>
                      <a:srgbClr val="FFFFFF"/>
                    </a:solidFill>
                  </a:endParaRPr>
                </a:p>
              </p:txBody>
            </p:sp>
            <p:sp>
              <p:nvSpPr>
                <p:cNvPr id="197" name="Rectangle 196"/>
                <p:cNvSpPr/>
                <p:nvPr/>
              </p:nvSpPr>
              <p:spPr bwMode="auto">
                <a:xfrm>
                  <a:off x="-836694" y="5417010"/>
                  <a:ext cx="868680" cy="685800"/>
                </a:xfrm>
                <a:prstGeom prst="rect">
                  <a:avLst/>
                </a:prstGeom>
                <a:solidFill>
                  <a:srgbClr val="7F7F7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a:solidFill>
                        <a:srgbClr val="FFFFFF"/>
                      </a:solidFill>
                    </a:rPr>
                    <a:t>Traffic </a:t>
                  </a:r>
                  <a:r>
                    <a:rPr lang="en-US" sz="783" b="1" dirty="0">
                      <a:solidFill>
                        <a:srgbClr val="FFFFFF"/>
                      </a:solidFill>
                    </a:rPr>
                    <a:t>M</a:t>
                  </a:r>
                  <a:r>
                    <a:rPr lang="en-US" sz="783" b="1" dirty="0" smtClean="0">
                      <a:solidFill>
                        <a:srgbClr val="FFFFFF"/>
                      </a:solidFill>
                    </a:rPr>
                    <a:t>anager</a:t>
                  </a:r>
                  <a:endParaRPr lang="en-US" sz="783" b="1" dirty="0">
                    <a:solidFill>
                      <a:srgbClr val="FFFFFF"/>
                    </a:solidFill>
                  </a:endParaRPr>
                </a:p>
              </p:txBody>
            </p:sp>
            <p:sp>
              <p:nvSpPr>
                <p:cNvPr id="198" name="Freeform 58"/>
                <p:cNvSpPr>
                  <a:spLocks noEditPoints="1"/>
                </p:cNvSpPr>
                <p:nvPr/>
              </p:nvSpPr>
              <p:spPr bwMode="black">
                <a:xfrm>
                  <a:off x="-3256068" y="5518633"/>
                  <a:ext cx="275866" cy="29567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277" tIns="41139" rIns="82277" bIns="41139" numCol="1" anchor="t" anchorCtr="0" compatLnSpc="1">
                  <a:prstTxWarp prst="textNoShape">
                    <a:avLst/>
                  </a:prstTxWarp>
                </a:bodyPr>
                <a:lstStyle/>
                <a:p>
                  <a:pPr defTabSz="684563"/>
                  <a:endParaRPr lang="en-US" sz="1000" dirty="0">
                    <a:solidFill>
                      <a:srgbClr val="FFFFFF"/>
                    </a:solidFill>
                  </a:endParaRPr>
                </a:p>
              </p:txBody>
            </p:sp>
            <p:sp>
              <p:nvSpPr>
                <p:cNvPr id="199" name="Freeform 78"/>
                <p:cNvSpPr>
                  <a:spLocks noEditPoints="1"/>
                </p:cNvSpPr>
                <p:nvPr/>
              </p:nvSpPr>
              <p:spPr bwMode="black">
                <a:xfrm>
                  <a:off x="-2411180" y="5476691"/>
                  <a:ext cx="396610" cy="379560"/>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chemeClr val="bg1"/>
                </a:solidFill>
                <a:ln>
                  <a:noFill/>
                </a:ln>
              </p:spPr>
              <p:txBody>
                <a:bodyPr vert="horz" wrap="square" lIns="82277" tIns="41139" rIns="82277" bIns="41139" numCol="1" anchor="t" anchorCtr="0" compatLnSpc="1">
                  <a:prstTxWarp prst="textNoShape">
                    <a:avLst/>
                  </a:prstTxWarp>
                </a:bodyPr>
                <a:lstStyle/>
                <a:p>
                  <a:pPr defTabSz="684563"/>
                  <a:endParaRPr lang="en-US" sz="1000" dirty="0">
                    <a:solidFill>
                      <a:srgbClr val="FFFFFF"/>
                    </a:solidFill>
                  </a:endParaRPr>
                </a:p>
              </p:txBody>
            </p:sp>
            <p:pic>
              <p:nvPicPr>
                <p:cNvPr id="200" name="Picture 2"/>
                <p:cNvPicPr>
                  <a:picLocks noChangeAspect="1" noChangeArrowheads="1"/>
                </p:cNvPicPr>
                <p:nvPr/>
              </p:nvPicPr>
              <p:blipFill>
                <a:blip r:embed="rId7" cstate="email">
                  <a:extLst>
                    <a:ext uri="{28A0092B-C50C-407E-A947-70E740481C1C}">
                      <a14:useLocalDpi xmlns:a14="http://schemas.microsoft.com/office/drawing/2010/main"/>
                    </a:ext>
                  </a:extLst>
                </a:blip>
                <a:stretch>
                  <a:fillRect/>
                </a:stretch>
              </p:blipFill>
              <p:spPr bwMode="auto">
                <a:xfrm>
                  <a:off x="-1477278" y="5496809"/>
                  <a:ext cx="339326" cy="33932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01" name="Freeform 131"/>
                <p:cNvSpPr>
                  <a:spLocks noEditPoints="1"/>
                </p:cNvSpPr>
                <p:nvPr/>
              </p:nvSpPr>
              <p:spPr bwMode="black">
                <a:xfrm>
                  <a:off x="-571740" y="5518633"/>
                  <a:ext cx="338772" cy="295676"/>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chemeClr val="bg1"/>
                </a:solidFill>
                <a:ln>
                  <a:noFill/>
                </a:ln>
                <a:extLst/>
              </p:spPr>
              <p:txBody>
                <a:bodyPr vert="horz" wrap="square" lIns="89625" tIns="44812" rIns="89625" bIns="44812" numCol="1" anchor="t" anchorCtr="0" compatLnSpc="1">
                  <a:prstTxWarp prst="textNoShape">
                    <a:avLst/>
                  </a:prstTxWarp>
                </a:bodyPr>
                <a:lstStyle/>
                <a:p>
                  <a:endParaRPr lang="en-US" sz="1765" dirty="0">
                    <a:solidFill>
                      <a:srgbClr val="000000"/>
                    </a:solidFill>
                  </a:endParaRPr>
                </a:p>
              </p:txBody>
            </p:sp>
          </p:grpSp>
        </p:grpSp>
        <p:grpSp>
          <p:nvGrpSpPr>
            <p:cNvPr id="88" name="Group 87"/>
            <p:cNvGrpSpPr/>
            <p:nvPr/>
          </p:nvGrpSpPr>
          <p:grpSpPr>
            <a:xfrm>
              <a:off x="9591673" y="2320023"/>
              <a:ext cx="3968425" cy="862398"/>
              <a:chOff x="554883" y="3636065"/>
              <a:chExt cx="3702792" cy="804672"/>
            </a:xfrm>
          </p:grpSpPr>
          <p:sp>
            <p:nvSpPr>
              <p:cNvPr id="176" name="Rectangle 175"/>
              <p:cNvSpPr/>
              <p:nvPr/>
            </p:nvSpPr>
            <p:spPr bwMode="auto">
              <a:xfrm>
                <a:off x="554883" y="3636065"/>
                <a:ext cx="3702792" cy="804672"/>
              </a:xfrm>
              <a:prstGeom prst="rect">
                <a:avLst/>
              </a:prstGeom>
              <a:solidFill>
                <a:srgbClr val="7F7F7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12" tIns="44812" rIns="44812" bIns="44812" numCol="1" rtlCol="0" anchor="b" anchorCtr="0" compatLnSpc="1">
                <a:prstTxWarp prst="textNoShape">
                  <a:avLst/>
                </a:prstTxWarp>
              </a:bodyPr>
              <a:lstStyle/>
              <a:p>
                <a:pPr algn="ctr" defTabSz="913731" fontAlgn="base">
                  <a:spcBef>
                    <a:spcPct val="0"/>
                  </a:spcBef>
                  <a:spcAft>
                    <a:spcPct val="0"/>
                  </a:spcAft>
                </a:pPr>
                <a:endParaRPr lang="en-US" sz="882" dirty="0">
                  <a:solidFill>
                    <a:srgbClr val="FFFFFF"/>
                  </a:solidFill>
                </a:endParaRPr>
              </a:p>
            </p:txBody>
          </p:sp>
          <p:grpSp>
            <p:nvGrpSpPr>
              <p:cNvPr id="177" name="Group 176"/>
              <p:cNvGrpSpPr/>
              <p:nvPr/>
            </p:nvGrpSpPr>
            <p:grpSpPr>
              <a:xfrm>
                <a:off x="614050" y="3695501"/>
                <a:ext cx="3584458" cy="685800"/>
                <a:chOff x="-3552475" y="3744589"/>
                <a:chExt cx="3584458" cy="685800"/>
              </a:xfrm>
            </p:grpSpPr>
            <p:grpSp>
              <p:nvGrpSpPr>
                <p:cNvPr id="178" name="Group 177"/>
                <p:cNvGrpSpPr/>
                <p:nvPr/>
              </p:nvGrpSpPr>
              <p:grpSpPr>
                <a:xfrm>
                  <a:off x="-3552475" y="3744589"/>
                  <a:ext cx="868680" cy="685800"/>
                  <a:chOff x="-3552475" y="3744589"/>
                  <a:chExt cx="868680" cy="685800"/>
                </a:xfrm>
              </p:grpSpPr>
              <p:sp>
                <p:nvSpPr>
                  <p:cNvPr id="188" name="Rectangle 187"/>
                  <p:cNvSpPr/>
                  <p:nvPr/>
                </p:nvSpPr>
                <p:spPr bwMode="auto">
                  <a:xfrm>
                    <a:off x="-3552475" y="3744589"/>
                    <a:ext cx="868680" cy="685800"/>
                  </a:xfrm>
                  <a:prstGeom prst="rect">
                    <a:avLst/>
                  </a:prstGeom>
                  <a:solidFill>
                    <a:srgbClr val="7F7F7F">
                      <a:alpha val="1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a:solidFill>
                          <a:srgbClr val="FFFFFF"/>
                        </a:solidFill>
                      </a:rPr>
                      <a:t>Virtual machines</a:t>
                    </a:r>
                  </a:p>
                </p:txBody>
              </p:sp>
              <p:grpSp>
                <p:nvGrpSpPr>
                  <p:cNvPr id="189" name="Group 188"/>
                  <p:cNvGrpSpPr/>
                  <p:nvPr/>
                </p:nvGrpSpPr>
                <p:grpSpPr>
                  <a:xfrm>
                    <a:off x="-3342395" y="3814822"/>
                    <a:ext cx="448520" cy="380344"/>
                    <a:chOff x="3496977" y="5217915"/>
                    <a:chExt cx="433668" cy="367748"/>
                  </a:xfrm>
                  <a:solidFill>
                    <a:schemeClr val="bg1"/>
                  </a:solidFill>
                </p:grpSpPr>
                <p:sp>
                  <p:nvSpPr>
                    <p:cNvPr id="190" name="Freeform 88"/>
                    <p:cNvSpPr>
                      <a:spLocks noEditPoints="1"/>
                    </p:cNvSpPr>
                    <p:nvPr/>
                  </p:nvSpPr>
                  <p:spPr bwMode="black">
                    <a:xfrm>
                      <a:off x="3496977" y="5217915"/>
                      <a:ext cx="433668" cy="367748"/>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1" tIns="44810" rIns="89621" bIns="44810" numCol="1" rtlCol="0" anchor="ctr" anchorCtr="0" compatLnSpc="1">
                      <a:prstTxWarp prst="textNoShape">
                        <a:avLst/>
                      </a:prstTxWarp>
                    </a:bodyPr>
                    <a:lstStyle/>
                    <a:p>
                      <a:pPr defTabSz="725994"/>
                      <a:endParaRPr lang="en-US" sz="1765" dirty="0">
                        <a:solidFill>
                          <a:srgbClr val="000000">
                            <a:lumMod val="50000"/>
                          </a:srgbClr>
                        </a:solidFill>
                      </a:endParaRPr>
                    </a:p>
                  </p:txBody>
                </p:sp>
                <p:sp>
                  <p:nvSpPr>
                    <p:cNvPr id="191" name="Freeform 23"/>
                    <p:cNvSpPr>
                      <a:spLocks noEditPoints="1"/>
                    </p:cNvSpPr>
                    <p:nvPr/>
                  </p:nvSpPr>
                  <p:spPr bwMode="black">
                    <a:xfrm>
                      <a:off x="3639526" y="5308136"/>
                      <a:ext cx="148570" cy="14853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0671" tIns="40336" rIns="80671" bIns="40336" numCol="1" anchor="t" anchorCtr="0" compatLnSpc="1">
                      <a:prstTxWarp prst="textNoShape">
                        <a:avLst/>
                      </a:prstTxWarp>
                    </a:bodyPr>
                    <a:lstStyle/>
                    <a:p>
                      <a:endParaRPr lang="en-US" sz="1568" dirty="0">
                        <a:solidFill>
                          <a:srgbClr val="000000"/>
                        </a:solidFill>
                      </a:endParaRPr>
                    </a:p>
                  </p:txBody>
                </p:sp>
              </p:grpSp>
            </p:grpSp>
            <p:grpSp>
              <p:nvGrpSpPr>
                <p:cNvPr id="179" name="Group 178"/>
                <p:cNvGrpSpPr/>
                <p:nvPr/>
              </p:nvGrpSpPr>
              <p:grpSpPr>
                <a:xfrm>
                  <a:off x="-2647216" y="3744589"/>
                  <a:ext cx="868680" cy="685800"/>
                  <a:chOff x="-2647216" y="3744589"/>
                  <a:chExt cx="868680" cy="685800"/>
                </a:xfrm>
              </p:grpSpPr>
              <p:sp>
                <p:nvSpPr>
                  <p:cNvPr id="186" name="Rectangle 185"/>
                  <p:cNvSpPr/>
                  <p:nvPr/>
                </p:nvSpPr>
                <p:spPr bwMode="auto">
                  <a:xfrm>
                    <a:off x="-2647216" y="3744589"/>
                    <a:ext cx="868680" cy="685800"/>
                  </a:xfrm>
                  <a:prstGeom prst="rect">
                    <a:avLst/>
                  </a:prstGeom>
                  <a:solidFill>
                    <a:srgbClr val="7F7F7F">
                      <a:alpha val="1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smtClean="0">
                        <a:solidFill>
                          <a:srgbClr val="FFFFFF"/>
                        </a:solidFill>
                      </a:rPr>
                      <a:t>Websites</a:t>
                    </a:r>
                    <a:endParaRPr lang="en-US" sz="783" b="1" dirty="0">
                      <a:solidFill>
                        <a:srgbClr val="FFFFFF"/>
                      </a:solidFill>
                    </a:endParaRPr>
                  </a:p>
                </p:txBody>
              </p:sp>
              <p:sp>
                <p:nvSpPr>
                  <p:cNvPr id="187" name="Oval 13"/>
                  <p:cNvSpPr/>
                  <p:nvPr/>
                </p:nvSpPr>
                <p:spPr>
                  <a:xfrm>
                    <a:off x="-2427138" y="3790732"/>
                    <a:ext cx="428524" cy="428524"/>
                  </a:xfrm>
                  <a:custGeom>
                    <a:avLst/>
                    <a:gdLst/>
                    <a:ahLst/>
                    <a:cxnLst/>
                    <a:rect l="l" t="t" r="r" b="b"/>
                    <a:pathLst>
                      <a:path w="5360063" h="5360063">
                        <a:moveTo>
                          <a:pt x="2786711" y="4616633"/>
                        </a:moveTo>
                        <a:cubicBezTo>
                          <a:pt x="2845629" y="4616633"/>
                          <a:pt x="2893391" y="4664395"/>
                          <a:pt x="2893391" y="4723313"/>
                        </a:cubicBezTo>
                        <a:lnTo>
                          <a:pt x="2893216" y="4724182"/>
                        </a:lnTo>
                        <a:cubicBezTo>
                          <a:pt x="2893390" y="4724470"/>
                          <a:pt x="2893391" y="4724760"/>
                          <a:pt x="2893391" y="4725050"/>
                        </a:cubicBezTo>
                        <a:cubicBezTo>
                          <a:pt x="2893391" y="4783968"/>
                          <a:pt x="2845629" y="4831730"/>
                          <a:pt x="2786711" y="4831730"/>
                        </a:cubicBezTo>
                        <a:cubicBezTo>
                          <a:pt x="2727793" y="4831730"/>
                          <a:pt x="2680031" y="4783968"/>
                          <a:pt x="2680031" y="4725050"/>
                        </a:cubicBezTo>
                        <a:lnTo>
                          <a:pt x="2680206" y="4724182"/>
                        </a:lnTo>
                        <a:cubicBezTo>
                          <a:pt x="2680032" y="4723893"/>
                          <a:pt x="2680031" y="4723603"/>
                          <a:pt x="2680031" y="4723313"/>
                        </a:cubicBezTo>
                        <a:cubicBezTo>
                          <a:pt x="2680031" y="4664395"/>
                          <a:pt x="2727793" y="4616633"/>
                          <a:pt x="2786711" y="4616633"/>
                        </a:cubicBezTo>
                        <a:close/>
                        <a:moveTo>
                          <a:pt x="2370764" y="4172762"/>
                        </a:moveTo>
                        <a:cubicBezTo>
                          <a:pt x="2473381" y="4329652"/>
                          <a:pt x="2563715" y="4465105"/>
                          <a:pt x="2670321" y="4589275"/>
                        </a:cubicBezTo>
                        <a:cubicBezTo>
                          <a:pt x="2630242" y="4620838"/>
                          <a:pt x="2605736" y="4670082"/>
                          <a:pt x="2605736" y="4725050"/>
                        </a:cubicBezTo>
                        <a:cubicBezTo>
                          <a:pt x="2605736" y="4825000"/>
                          <a:pt x="2686761" y="4906025"/>
                          <a:pt x="2786711" y="4906025"/>
                        </a:cubicBezTo>
                        <a:cubicBezTo>
                          <a:pt x="2819605" y="4906025"/>
                          <a:pt x="2850448" y="4897250"/>
                          <a:pt x="2875571" y="4879387"/>
                        </a:cubicBezTo>
                        <a:cubicBezTo>
                          <a:pt x="2979721" y="4999406"/>
                          <a:pt x="3106893" y="5113460"/>
                          <a:pt x="3196681" y="5191382"/>
                        </a:cubicBezTo>
                        <a:cubicBezTo>
                          <a:pt x="3030020" y="5227229"/>
                          <a:pt x="2857147" y="5245561"/>
                          <a:pt x="2680032" y="5245561"/>
                        </a:cubicBezTo>
                        <a:cubicBezTo>
                          <a:pt x="2385646" y="5245561"/>
                          <a:pt x="2102983" y="5194917"/>
                          <a:pt x="1841065" y="5099089"/>
                        </a:cubicBezTo>
                        <a:lnTo>
                          <a:pt x="1850963" y="5094880"/>
                        </a:lnTo>
                        <a:cubicBezTo>
                          <a:pt x="1850963" y="5089948"/>
                          <a:pt x="1839965" y="5073920"/>
                          <a:pt x="1842715" y="5071762"/>
                        </a:cubicBezTo>
                        <a:lnTo>
                          <a:pt x="1850963" y="5075153"/>
                        </a:lnTo>
                        <a:cubicBezTo>
                          <a:pt x="1857480" y="5081728"/>
                          <a:pt x="1863997" y="5088304"/>
                          <a:pt x="1870514" y="5075153"/>
                        </a:cubicBezTo>
                        <a:cubicBezTo>
                          <a:pt x="1877031" y="5068577"/>
                          <a:pt x="1870514" y="5055424"/>
                          <a:pt x="1877031" y="5042273"/>
                        </a:cubicBezTo>
                        <a:cubicBezTo>
                          <a:pt x="1877031" y="5035697"/>
                          <a:pt x="1890065" y="5029121"/>
                          <a:pt x="1890065" y="5022545"/>
                        </a:cubicBezTo>
                        <a:cubicBezTo>
                          <a:pt x="1896582" y="5009393"/>
                          <a:pt x="1896582" y="5009393"/>
                          <a:pt x="1903099" y="5002817"/>
                        </a:cubicBezTo>
                        <a:cubicBezTo>
                          <a:pt x="1909616" y="4996242"/>
                          <a:pt x="1916133" y="4989666"/>
                          <a:pt x="1922650" y="4983089"/>
                        </a:cubicBezTo>
                        <a:cubicBezTo>
                          <a:pt x="1929166" y="4969938"/>
                          <a:pt x="1909616" y="4950211"/>
                          <a:pt x="1896582" y="4937058"/>
                        </a:cubicBezTo>
                        <a:cubicBezTo>
                          <a:pt x="1883548" y="4917332"/>
                          <a:pt x="1883548" y="4904179"/>
                          <a:pt x="1896582" y="4884452"/>
                        </a:cubicBezTo>
                        <a:cubicBezTo>
                          <a:pt x="1909616" y="4871300"/>
                          <a:pt x="1929166" y="4871300"/>
                          <a:pt x="1935684" y="4858148"/>
                        </a:cubicBezTo>
                        <a:cubicBezTo>
                          <a:pt x="1942201" y="4851573"/>
                          <a:pt x="1935684" y="4838421"/>
                          <a:pt x="1935684" y="4825269"/>
                        </a:cubicBezTo>
                        <a:cubicBezTo>
                          <a:pt x="1935684" y="4818693"/>
                          <a:pt x="1942201" y="4812117"/>
                          <a:pt x="1948717" y="4805541"/>
                        </a:cubicBezTo>
                        <a:cubicBezTo>
                          <a:pt x="1948717" y="4798966"/>
                          <a:pt x="1942201" y="4792389"/>
                          <a:pt x="1948717" y="4792389"/>
                        </a:cubicBezTo>
                        <a:cubicBezTo>
                          <a:pt x="1948717" y="4785813"/>
                          <a:pt x="1968268" y="4792389"/>
                          <a:pt x="1968268" y="4785813"/>
                        </a:cubicBezTo>
                        <a:cubicBezTo>
                          <a:pt x="1974786" y="4779237"/>
                          <a:pt x="1955235" y="4772662"/>
                          <a:pt x="1948717" y="4766086"/>
                        </a:cubicBezTo>
                        <a:cubicBezTo>
                          <a:pt x="1935684" y="4759510"/>
                          <a:pt x="1942201" y="4739782"/>
                          <a:pt x="1955235" y="4733206"/>
                        </a:cubicBezTo>
                        <a:cubicBezTo>
                          <a:pt x="1961752" y="4726631"/>
                          <a:pt x="1974786" y="4733206"/>
                          <a:pt x="1981303" y="4726631"/>
                        </a:cubicBezTo>
                        <a:cubicBezTo>
                          <a:pt x="2000854" y="4726631"/>
                          <a:pt x="2026921" y="4700327"/>
                          <a:pt x="2013888" y="4674023"/>
                        </a:cubicBezTo>
                        <a:cubicBezTo>
                          <a:pt x="2013855" y="4673990"/>
                          <a:pt x="2007414" y="4667492"/>
                          <a:pt x="2007370" y="4667447"/>
                        </a:cubicBezTo>
                        <a:lnTo>
                          <a:pt x="2003094" y="4657070"/>
                        </a:lnTo>
                        <a:cubicBezTo>
                          <a:pt x="2003705" y="4650596"/>
                          <a:pt x="2017146" y="4654295"/>
                          <a:pt x="2026921" y="4654295"/>
                        </a:cubicBezTo>
                        <a:cubicBezTo>
                          <a:pt x="2039956" y="4647720"/>
                          <a:pt x="2059507" y="4634567"/>
                          <a:pt x="2072541" y="4634567"/>
                        </a:cubicBezTo>
                        <a:cubicBezTo>
                          <a:pt x="2092092" y="4634567"/>
                          <a:pt x="2105125" y="4634567"/>
                          <a:pt x="2118159" y="4627991"/>
                        </a:cubicBezTo>
                        <a:cubicBezTo>
                          <a:pt x="2131194" y="4621416"/>
                          <a:pt x="2137710" y="4608264"/>
                          <a:pt x="2144227" y="4595112"/>
                        </a:cubicBezTo>
                        <a:cubicBezTo>
                          <a:pt x="2150745" y="4588536"/>
                          <a:pt x="2157261" y="4581960"/>
                          <a:pt x="2150745" y="4568809"/>
                        </a:cubicBezTo>
                        <a:cubicBezTo>
                          <a:pt x="2150745" y="4562233"/>
                          <a:pt x="2137710" y="4555656"/>
                          <a:pt x="2131194" y="4549081"/>
                        </a:cubicBezTo>
                        <a:cubicBezTo>
                          <a:pt x="2131194" y="4535929"/>
                          <a:pt x="2137710" y="4529353"/>
                          <a:pt x="2137710" y="4522778"/>
                        </a:cubicBezTo>
                        <a:cubicBezTo>
                          <a:pt x="2131194" y="4509625"/>
                          <a:pt x="2111643" y="4509625"/>
                          <a:pt x="2105125" y="4496474"/>
                        </a:cubicBezTo>
                        <a:cubicBezTo>
                          <a:pt x="2098608" y="4483322"/>
                          <a:pt x="2092092" y="4470170"/>
                          <a:pt x="2092092" y="4457018"/>
                        </a:cubicBezTo>
                        <a:cubicBezTo>
                          <a:pt x="2092092" y="4437290"/>
                          <a:pt x="2105125" y="4437290"/>
                          <a:pt x="2118159" y="4450443"/>
                        </a:cubicBezTo>
                        <a:cubicBezTo>
                          <a:pt x="2124676" y="4463594"/>
                          <a:pt x="2124676" y="4483322"/>
                          <a:pt x="2137710" y="4489898"/>
                        </a:cubicBezTo>
                        <a:cubicBezTo>
                          <a:pt x="2144227" y="4503049"/>
                          <a:pt x="2157261" y="4509625"/>
                          <a:pt x="2170296" y="4503049"/>
                        </a:cubicBezTo>
                        <a:cubicBezTo>
                          <a:pt x="2176812" y="4503049"/>
                          <a:pt x="2183330" y="4496474"/>
                          <a:pt x="2189847" y="4503049"/>
                        </a:cubicBezTo>
                        <a:cubicBezTo>
                          <a:pt x="2196363" y="4503049"/>
                          <a:pt x="2202881" y="4503049"/>
                          <a:pt x="2209398" y="4503049"/>
                        </a:cubicBezTo>
                        <a:cubicBezTo>
                          <a:pt x="2215914" y="4503049"/>
                          <a:pt x="2235465" y="4476745"/>
                          <a:pt x="2248500" y="4457018"/>
                        </a:cubicBezTo>
                        <a:cubicBezTo>
                          <a:pt x="2255016" y="4443867"/>
                          <a:pt x="2261534" y="4437290"/>
                          <a:pt x="2261534" y="4430714"/>
                        </a:cubicBezTo>
                        <a:cubicBezTo>
                          <a:pt x="2261534" y="4417563"/>
                          <a:pt x="2255016" y="4417563"/>
                          <a:pt x="2255016" y="4410987"/>
                        </a:cubicBezTo>
                        <a:cubicBezTo>
                          <a:pt x="2261534" y="4404411"/>
                          <a:pt x="2274567" y="4391259"/>
                          <a:pt x="2274567" y="4384683"/>
                        </a:cubicBezTo>
                        <a:cubicBezTo>
                          <a:pt x="2281085" y="4378107"/>
                          <a:pt x="2287601" y="4364956"/>
                          <a:pt x="2300636" y="4358379"/>
                        </a:cubicBezTo>
                        <a:cubicBezTo>
                          <a:pt x="2300667" y="4358379"/>
                          <a:pt x="2307169" y="4358379"/>
                          <a:pt x="2313669" y="4358379"/>
                        </a:cubicBezTo>
                        <a:cubicBezTo>
                          <a:pt x="2326703" y="4351805"/>
                          <a:pt x="2326703" y="4338653"/>
                          <a:pt x="2326703" y="4332077"/>
                        </a:cubicBezTo>
                        <a:cubicBezTo>
                          <a:pt x="2333220" y="4318925"/>
                          <a:pt x="2339738" y="4312349"/>
                          <a:pt x="2352771" y="4299198"/>
                        </a:cubicBezTo>
                        <a:cubicBezTo>
                          <a:pt x="2385356" y="4266318"/>
                          <a:pt x="2352771" y="4233438"/>
                          <a:pt x="2359289" y="4193983"/>
                        </a:cubicBezTo>
                        <a:cubicBezTo>
                          <a:pt x="2359289" y="4185809"/>
                          <a:pt x="2363764" y="4178764"/>
                          <a:pt x="2370764" y="4172762"/>
                        </a:cubicBezTo>
                        <a:close/>
                        <a:moveTo>
                          <a:pt x="1355050" y="3792279"/>
                        </a:moveTo>
                        <a:cubicBezTo>
                          <a:pt x="1318697" y="4184868"/>
                          <a:pt x="1335670" y="4583698"/>
                          <a:pt x="1401311" y="4894132"/>
                        </a:cubicBezTo>
                        <a:cubicBezTo>
                          <a:pt x="1035189" y="4679816"/>
                          <a:pt x="728470" y="4374217"/>
                          <a:pt x="510450" y="4008440"/>
                        </a:cubicBezTo>
                        <a:cubicBezTo>
                          <a:pt x="587420" y="3990259"/>
                          <a:pt x="643285" y="3920314"/>
                          <a:pt x="643285" y="3837320"/>
                        </a:cubicBezTo>
                        <a:lnTo>
                          <a:pt x="642841" y="3832916"/>
                        </a:lnTo>
                        <a:cubicBezTo>
                          <a:pt x="917344" y="3821669"/>
                          <a:pt x="1147515" y="3811703"/>
                          <a:pt x="1355050" y="3792279"/>
                        </a:cubicBezTo>
                        <a:close/>
                        <a:moveTo>
                          <a:pt x="1652544" y="3757744"/>
                        </a:moveTo>
                        <a:cubicBezTo>
                          <a:pt x="1655053" y="3760042"/>
                          <a:pt x="1655453" y="3763094"/>
                          <a:pt x="1655453" y="3766550"/>
                        </a:cubicBezTo>
                        <a:cubicBezTo>
                          <a:pt x="1655453" y="3773126"/>
                          <a:pt x="1655453" y="3779702"/>
                          <a:pt x="1655453" y="3792854"/>
                        </a:cubicBezTo>
                        <a:cubicBezTo>
                          <a:pt x="1655453" y="3806005"/>
                          <a:pt x="1661970" y="3838885"/>
                          <a:pt x="1675004" y="3845461"/>
                        </a:cubicBezTo>
                        <a:cubicBezTo>
                          <a:pt x="1681521" y="3852036"/>
                          <a:pt x="1694555" y="3858612"/>
                          <a:pt x="1707589" y="3858612"/>
                        </a:cubicBezTo>
                        <a:cubicBezTo>
                          <a:pt x="1720624" y="3865188"/>
                          <a:pt x="1740175" y="3871764"/>
                          <a:pt x="1753208" y="3884915"/>
                        </a:cubicBezTo>
                        <a:cubicBezTo>
                          <a:pt x="1766242" y="3898068"/>
                          <a:pt x="1779276" y="3904643"/>
                          <a:pt x="1792310" y="3917795"/>
                        </a:cubicBezTo>
                        <a:cubicBezTo>
                          <a:pt x="1798827" y="3924370"/>
                          <a:pt x="1798827" y="3937523"/>
                          <a:pt x="1805344" y="3950674"/>
                        </a:cubicBezTo>
                        <a:cubicBezTo>
                          <a:pt x="1811861" y="3963826"/>
                          <a:pt x="1811861" y="3983554"/>
                          <a:pt x="1811861" y="4003281"/>
                        </a:cubicBezTo>
                        <a:cubicBezTo>
                          <a:pt x="1811861" y="4009857"/>
                          <a:pt x="1805344" y="4016434"/>
                          <a:pt x="1805344" y="4029585"/>
                        </a:cubicBezTo>
                        <a:cubicBezTo>
                          <a:pt x="1805344" y="4036161"/>
                          <a:pt x="1811861" y="4042737"/>
                          <a:pt x="1805344" y="4049312"/>
                        </a:cubicBezTo>
                        <a:cubicBezTo>
                          <a:pt x="1805344" y="4055889"/>
                          <a:pt x="1805344" y="4069041"/>
                          <a:pt x="1805344" y="4075616"/>
                        </a:cubicBezTo>
                        <a:cubicBezTo>
                          <a:pt x="1805344" y="4095345"/>
                          <a:pt x="1792310" y="4108496"/>
                          <a:pt x="1792310" y="4128223"/>
                        </a:cubicBezTo>
                        <a:cubicBezTo>
                          <a:pt x="1792310" y="4147952"/>
                          <a:pt x="1798827" y="4161103"/>
                          <a:pt x="1798827" y="4174255"/>
                        </a:cubicBezTo>
                        <a:cubicBezTo>
                          <a:pt x="1792310" y="4187407"/>
                          <a:pt x="1785793" y="4193983"/>
                          <a:pt x="1792310" y="4213711"/>
                        </a:cubicBezTo>
                        <a:cubicBezTo>
                          <a:pt x="1792310" y="4220287"/>
                          <a:pt x="1792310" y="4226863"/>
                          <a:pt x="1792310" y="4240014"/>
                        </a:cubicBezTo>
                        <a:cubicBezTo>
                          <a:pt x="1792310" y="4246590"/>
                          <a:pt x="1785793" y="4253166"/>
                          <a:pt x="1785793" y="4266318"/>
                        </a:cubicBezTo>
                        <a:cubicBezTo>
                          <a:pt x="1785793" y="4272894"/>
                          <a:pt x="1779276" y="4286045"/>
                          <a:pt x="1779276" y="4292622"/>
                        </a:cubicBezTo>
                        <a:cubicBezTo>
                          <a:pt x="1779276" y="4299198"/>
                          <a:pt x="1772759" y="4312349"/>
                          <a:pt x="1772759" y="4318925"/>
                        </a:cubicBezTo>
                        <a:cubicBezTo>
                          <a:pt x="1779276" y="4325502"/>
                          <a:pt x="1779276" y="4332077"/>
                          <a:pt x="1779276" y="4345229"/>
                        </a:cubicBezTo>
                        <a:cubicBezTo>
                          <a:pt x="1779276" y="4351805"/>
                          <a:pt x="1772759" y="4358379"/>
                          <a:pt x="1772759" y="4371532"/>
                        </a:cubicBezTo>
                        <a:cubicBezTo>
                          <a:pt x="1772759" y="4384683"/>
                          <a:pt x="1779276" y="4391259"/>
                          <a:pt x="1785793" y="4397835"/>
                        </a:cubicBezTo>
                        <a:cubicBezTo>
                          <a:pt x="1798827" y="4424139"/>
                          <a:pt x="1766242" y="4450443"/>
                          <a:pt x="1759726" y="4476745"/>
                        </a:cubicBezTo>
                        <a:cubicBezTo>
                          <a:pt x="1753208" y="4496474"/>
                          <a:pt x="1746691" y="4516201"/>
                          <a:pt x="1746691" y="4535929"/>
                        </a:cubicBezTo>
                        <a:cubicBezTo>
                          <a:pt x="1746691" y="4555656"/>
                          <a:pt x="1740175" y="4575385"/>
                          <a:pt x="1733657" y="4588536"/>
                        </a:cubicBezTo>
                        <a:cubicBezTo>
                          <a:pt x="1727140" y="4601689"/>
                          <a:pt x="1733657" y="4608264"/>
                          <a:pt x="1740175" y="4621416"/>
                        </a:cubicBezTo>
                        <a:cubicBezTo>
                          <a:pt x="1746691" y="4634567"/>
                          <a:pt x="1746691" y="4647720"/>
                          <a:pt x="1746691" y="4660871"/>
                        </a:cubicBezTo>
                        <a:cubicBezTo>
                          <a:pt x="1746691" y="4687175"/>
                          <a:pt x="1733657" y="4700327"/>
                          <a:pt x="1733657" y="4720055"/>
                        </a:cubicBezTo>
                        <a:cubicBezTo>
                          <a:pt x="1733657" y="4726631"/>
                          <a:pt x="1733657" y="4739782"/>
                          <a:pt x="1733657" y="4746358"/>
                        </a:cubicBezTo>
                        <a:cubicBezTo>
                          <a:pt x="1733657" y="4752933"/>
                          <a:pt x="1740175" y="4752933"/>
                          <a:pt x="1746691" y="4759510"/>
                        </a:cubicBezTo>
                        <a:cubicBezTo>
                          <a:pt x="1746691" y="4766086"/>
                          <a:pt x="1746691" y="4772662"/>
                          <a:pt x="1746691" y="4779237"/>
                        </a:cubicBezTo>
                        <a:cubicBezTo>
                          <a:pt x="1746691" y="4792389"/>
                          <a:pt x="1746691" y="4798966"/>
                          <a:pt x="1740175" y="4812117"/>
                        </a:cubicBezTo>
                        <a:cubicBezTo>
                          <a:pt x="1740175" y="4825269"/>
                          <a:pt x="1746691" y="4831844"/>
                          <a:pt x="1740175" y="4844997"/>
                        </a:cubicBezTo>
                        <a:cubicBezTo>
                          <a:pt x="1733657" y="4851573"/>
                          <a:pt x="1720624" y="4858148"/>
                          <a:pt x="1720624" y="4871300"/>
                        </a:cubicBezTo>
                        <a:cubicBezTo>
                          <a:pt x="1714106" y="4891028"/>
                          <a:pt x="1733657" y="4910755"/>
                          <a:pt x="1727140" y="4937058"/>
                        </a:cubicBezTo>
                        <a:cubicBezTo>
                          <a:pt x="1720624" y="4956786"/>
                          <a:pt x="1707589" y="4976513"/>
                          <a:pt x="1707589" y="5002817"/>
                        </a:cubicBezTo>
                        <a:lnTo>
                          <a:pt x="1707589" y="5049786"/>
                        </a:lnTo>
                        <a:cubicBezTo>
                          <a:pt x="1614691" y="5010873"/>
                          <a:pt x="1524588" y="4966540"/>
                          <a:pt x="1438672" y="4915414"/>
                        </a:cubicBezTo>
                        <a:cubicBezTo>
                          <a:pt x="1373926" y="4570463"/>
                          <a:pt x="1359286" y="4168496"/>
                          <a:pt x="1393222" y="3789064"/>
                        </a:cubicBezTo>
                        <a:cubicBezTo>
                          <a:pt x="1483207" y="3781329"/>
                          <a:pt x="1569036" y="3771076"/>
                          <a:pt x="1652544" y="3757744"/>
                        </a:cubicBezTo>
                        <a:close/>
                        <a:moveTo>
                          <a:pt x="462309" y="3730640"/>
                        </a:moveTo>
                        <a:cubicBezTo>
                          <a:pt x="521227" y="3730640"/>
                          <a:pt x="568989" y="3778402"/>
                          <a:pt x="568989" y="3837320"/>
                        </a:cubicBezTo>
                        <a:cubicBezTo>
                          <a:pt x="568989" y="3896238"/>
                          <a:pt x="521227" y="3944000"/>
                          <a:pt x="462309" y="3944000"/>
                        </a:cubicBezTo>
                        <a:cubicBezTo>
                          <a:pt x="403391" y="3944000"/>
                          <a:pt x="355629" y="3896238"/>
                          <a:pt x="355629" y="3837320"/>
                        </a:cubicBezTo>
                        <a:cubicBezTo>
                          <a:pt x="355629" y="3778402"/>
                          <a:pt x="403391" y="3730640"/>
                          <a:pt x="462309" y="3730640"/>
                        </a:cubicBezTo>
                        <a:close/>
                        <a:moveTo>
                          <a:pt x="1548737" y="3047311"/>
                        </a:moveTo>
                        <a:cubicBezTo>
                          <a:pt x="1557698" y="3046490"/>
                          <a:pt x="1567474" y="3046490"/>
                          <a:pt x="1577249" y="3049777"/>
                        </a:cubicBezTo>
                        <a:cubicBezTo>
                          <a:pt x="1583766" y="3049777"/>
                          <a:pt x="1596800" y="3056353"/>
                          <a:pt x="1596800" y="3069505"/>
                        </a:cubicBezTo>
                        <a:cubicBezTo>
                          <a:pt x="1603317" y="3082657"/>
                          <a:pt x="1596800" y="3089233"/>
                          <a:pt x="1609834" y="3102384"/>
                        </a:cubicBezTo>
                        <a:cubicBezTo>
                          <a:pt x="1635902" y="3122113"/>
                          <a:pt x="1622868" y="3154992"/>
                          <a:pt x="1616351" y="3187871"/>
                        </a:cubicBezTo>
                        <a:cubicBezTo>
                          <a:pt x="1609834" y="3201023"/>
                          <a:pt x="1609834" y="3214175"/>
                          <a:pt x="1609834" y="3227326"/>
                        </a:cubicBezTo>
                        <a:cubicBezTo>
                          <a:pt x="1609834" y="3240479"/>
                          <a:pt x="1609834" y="3247055"/>
                          <a:pt x="1616351" y="3260206"/>
                        </a:cubicBezTo>
                        <a:cubicBezTo>
                          <a:pt x="1616351" y="3279934"/>
                          <a:pt x="1609834" y="3286510"/>
                          <a:pt x="1603317" y="3299661"/>
                        </a:cubicBezTo>
                        <a:cubicBezTo>
                          <a:pt x="1583766" y="3339117"/>
                          <a:pt x="1557698" y="3365420"/>
                          <a:pt x="1538147" y="3398299"/>
                        </a:cubicBezTo>
                        <a:cubicBezTo>
                          <a:pt x="1525113" y="3424602"/>
                          <a:pt x="1525113" y="3464058"/>
                          <a:pt x="1525113" y="3490362"/>
                        </a:cubicBezTo>
                        <a:cubicBezTo>
                          <a:pt x="1531630" y="3536393"/>
                          <a:pt x="1551181" y="3562697"/>
                          <a:pt x="1583766" y="3595577"/>
                        </a:cubicBezTo>
                        <a:cubicBezTo>
                          <a:pt x="1609834" y="3621880"/>
                          <a:pt x="1609834" y="3654759"/>
                          <a:pt x="1622868" y="3687639"/>
                        </a:cubicBezTo>
                        <a:cubicBezTo>
                          <a:pt x="1622868" y="3698979"/>
                          <a:pt x="1627713" y="3710319"/>
                          <a:pt x="1633395" y="3721575"/>
                        </a:cubicBezTo>
                        <a:cubicBezTo>
                          <a:pt x="1554127" y="3733626"/>
                          <a:pt x="1475050" y="3742859"/>
                          <a:pt x="1396120" y="3750408"/>
                        </a:cubicBezTo>
                        <a:cubicBezTo>
                          <a:pt x="1419231" y="3497496"/>
                          <a:pt x="1464221" y="3255901"/>
                          <a:pt x="1529413" y="3049328"/>
                        </a:cubicBezTo>
                        <a:cubicBezTo>
                          <a:pt x="1535093" y="3049122"/>
                          <a:pt x="1541661" y="3047961"/>
                          <a:pt x="1548737" y="3047311"/>
                        </a:cubicBezTo>
                        <a:close/>
                        <a:moveTo>
                          <a:pt x="4959037" y="3018772"/>
                        </a:moveTo>
                        <a:cubicBezTo>
                          <a:pt x="5036068" y="3082842"/>
                          <a:pt x="5119464" y="3152676"/>
                          <a:pt x="5164978" y="3191039"/>
                        </a:cubicBezTo>
                        <a:cubicBezTo>
                          <a:pt x="5117274" y="3435339"/>
                          <a:pt x="5034215" y="3666859"/>
                          <a:pt x="4921641" y="3880239"/>
                        </a:cubicBezTo>
                        <a:cubicBezTo>
                          <a:pt x="4921663" y="3879397"/>
                          <a:pt x="4921504" y="3878583"/>
                          <a:pt x="4921340" y="3877761"/>
                        </a:cubicBezTo>
                        <a:cubicBezTo>
                          <a:pt x="4921340" y="3864581"/>
                          <a:pt x="4921340" y="3857991"/>
                          <a:pt x="4921340" y="3844812"/>
                        </a:cubicBezTo>
                        <a:cubicBezTo>
                          <a:pt x="4927904" y="3831632"/>
                          <a:pt x="4927904" y="3818452"/>
                          <a:pt x="4914775" y="3811861"/>
                        </a:cubicBezTo>
                        <a:cubicBezTo>
                          <a:pt x="4911492" y="3808567"/>
                          <a:pt x="4904928" y="3805271"/>
                          <a:pt x="4898363" y="3803624"/>
                        </a:cubicBezTo>
                        <a:lnTo>
                          <a:pt x="4881952" y="3805271"/>
                        </a:lnTo>
                        <a:cubicBezTo>
                          <a:pt x="4868823" y="3805271"/>
                          <a:pt x="4868823" y="3818452"/>
                          <a:pt x="4862259" y="3825043"/>
                        </a:cubicBezTo>
                        <a:cubicBezTo>
                          <a:pt x="4855694" y="3831632"/>
                          <a:pt x="4855694" y="3838222"/>
                          <a:pt x="4842565" y="3851401"/>
                        </a:cubicBezTo>
                        <a:cubicBezTo>
                          <a:pt x="4822871" y="3864581"/>
                          <a:pt x="4783485" y="3871170"/>
                          <a:pt x="4776921" y="3897530"/>
                        </a:cubicBezTo>
                        <a:cubicBezTo>
                          <a:pt x="4763791" y="3917299"/>
                          <a:pt x="4776921" y="3937070"/>
                          <a:pt x="4776921" y="3956840"/>
                        </a:cubicBezTo>
                        <a:cubicBezTo>
                          <a:pt x="4783485" y="3983198"/>
                          <a:pt x="4783485" y="3996378"/>
                          <a:pt x="4763791" y="4016148"/>
                        </a:cubicBezTo>
                        <a:cubicBezTo>
                          <a:pt x="4750662" y="4029328"/>
                          <a:pt x="4737533" y="4055687"/>
                          <a:pt x="4737533" y="4075457"/>
                        </a:cubicBezTo>
                        <a:cubicBezTo>
                          <a:pt x="4737533" y="4101816"/>
                          <a:pt x="4750662" y="4108406"/>
                          <a:pt x="4763791" y="4128177"/>
                        </a:cubicBezTo>
                        <a:lnTo>
                          <a:pt x="4764599" y="4141159"/>
                        </a:lnTo>
                        <a:cubicBezTo>
                          <a:pt x="4409659" y="4660202"/>
                          <a:pt x="3869165" y="5039746"/>
                          <a:pt x="3239606" y="5181785"/>
                        </a:cubicBezTo>
                        <a:cubicBezTo>
                          <a:pt x="3108766" y="5065135"/>
                          <a:pt x="2983320" y="4952596"/>
                          <a:pt x="2908718" y="4857038"/>
                        </a:cubicBezTo>
                        <a:cubicBezTo>
                          <a:pt x="2945305" y="4824885"/>
                          <a:pt x="2967686" y="4777581"/>
                          <a:pt x="2967686" y="4725050"/>
                        </a:cubicBezTo>
                        <a:cubicBezTo>
                          <a:pt x="2967686" y="4625100"/>
                          <a:pt x="2886661" y="4544075"/>
                          <a:pt x="2786711" y="4544075"/>
                        </a:cubicBezTo>
                        <a:cubicBezTo>
                          <a:pt x="2754908" y="4544075"/>
                          <a:pt x="2725020" y="4552279"/>
                          <a:pt x="2700350" y="4569029"/>
                        </a:cubicBezTo>
                        <a:cubicBezTo>
                          <a:pt x="2586648" y="4431561"/>
                          <a:pt x="2493149" y="4288531"/>
                          <a:pt x="2402215" y="4149788"/>
                        </a:cubicBezTo>
                        <a:cubicBezTo>
                          <a:pt x="2403109" y="4149153"/>
                          <a:pt x="2404015" y="4148553"/>
                          <a:pt x="2404907" y="4147952"/>
                        </a:cubicBezTo>
                        <a:cubicBezTo>
                          <a:pt x="2411424" y="4141376"/>
                          <a:pt x="2424458" y="4134800"/>
                          <a:pt x="2437493" y="4121648"/>
                        </a:cubicBezTo>
                        <a:cubicBezTo>
                          <a:pt x="2444009" y="4121648"/>
                          <a:pt x="2444009" y="4115072"/>
                          <a:pt x="2450526" y="4108496"/>
                        </a:cubicBezTo>
                        <a:cubicBezTo>
                          <a:pt x="2470077" y="4101920"/>
                          <a:pt x="2496145" y="4088768"/>
                          <a:pt x="2515696" y="4082192"/>
                        </a:cubicBezTo>
                        <a:cubicBezTo>
                          <a:pt x="2528730" y="4075616"/>
                          <a:pt x="2548281" y="4075616"/>
                          <a:pt x="2554798" y="4055889"/>
                        </a:cubicBezTo>
                        <a:cubicBezTo>
                          <a:pt x="2554798" y="4049312"/>
                          <a:pt x="2554798" y="4036161"/>
                          <a:pt x="2554798" y="4029585"/>
                        </a:cubicBezTo>
                        <a:cubicBezTo>
                          <a:pt x="2554798" y="4016434"/>
                          <a:pt x="2561315" y="4009857"/>
                          <a:pt x="2567832" y="4003281"/>
                        </a:cubicBezTo>
                        <a:cubicBezTo>
                          <a:pt x="2574349" y="3996706"/>
                          <a:pt x="2587383" y="3983554"/>
                          <a:pt x="2593900" y="3970402"/>
                        </a:cubicBezTo>
                        <a:cubicBezTo>
                          <a:pt x="2600417" y="3957250"/>
                          <a:pt x="2600417" y="3950674"/>
                          <a:pt x="2600417" y="3930946"/>
                        </a:cubicBezTo>
                        <a:cubicBezTo>
                          <a:pt x="2593900" y="3924370"/>
                          <a:pt x="2600417" y="3917795"/>
                          <a:pt x="2606934" y="3904643"/>
                        </a:cubicBezTo>
                        <a:cubicBezTo>
                          <a:pt x="2613451" y="3891491"/>
                          <a:pt x="2613451" y="3871764"/>
                          <a:pt x="2613451" y="3858612"/>
                        </a:cubicBezTo>
                        <a:cubicBezTo>
                          <a:pt x="2613451" y="3838885"/>
                          <a:pt x="2600417" y="3825733"/>
                          <a:pt x="2600417" y="3806005"/>
                        </a:cubicBezTo>
                        <a:cubicBezTo>
                          <a:pt x="2600417" y="3792854"/>
                          <a:pt x="2600417" y="3786278"/>
                          <a:pt x="2606934" y="3773126"/>
                        </a:cubicBezTo>
                        <a:cubicBezTo>
                          <a:pt x="2613451" y="3766550"/>
                          <a:pt x="2619968" y="3753398"/>
                          <a:pt x="2626484" y="3746823"/>
                        </a:cubicBezTo>
                        <a:cubicBezTo>
                          <a:pt x="2633002" y="3746823"/>
                          <a:pt x="2639519" y="3746823"/>
                          <a:pt x="2652553" y="3740247"/>
                        </a:cubicBezTo>
                        <a:cubicBezTo>
                          <a:pt x="2659070" y="3727094"/>
                          <a:pt x="2665587" y="3713943"/>
                          <a:pt x="2672104" y="3694215"/>
                        </a:cubicBezTo>
                        <a:cubicBezTo>
                          <a:pt x="2678621" y="3687639"/>
                          <a:pt x="2678621" y="3681063"/>
                          <a:pt x="2685138" y="3674487"/>
                        </a:cubicBezTo>
                        <a:cubicBezTo>
                          <a:pt x="2685138" y="3667912"/>
                          <a:pt x="2691655" y="3661335"/>
                          <a:pt x="2698172" y="3661335"/>
                        </a:cubicBezTo>
                        <a:cubicBezTo>
                          <a:pt x="2711206" y="3654759"/>
                          <a:pt x="2717723" y="3641608"/>
                          <a:pt x="2724240" y="3635032"/>
                        </a:cubicBezTo>
                        <a:cubicBezTo>
                          <a:pt x="2728341" y="3622620"/>
                          <a:pt x="2732441" y="3607604"/>
                          <a:pt x="2731974" y="3591553"/>
                        </a:cubicBezTo>
                        <a:cubicBezTo>
                          <a:pt x="3176757" y="3492724"/>
                          <a:pt x="3530895" y="3400733"/>
                          <a:pt x="3875196" y="3278576"/>
                        </a:cubicBezTo>
                        <a:cubicBezTo>
                          <a:pt x="3874963" y="3303286"/>
                          <a:pt x="3869564" y="3328899"/>
                          <a:pt x="3864973" y="3352065"/>
                        </a:cubicBezTo>
                        <a:cubicBezTo>
                          <a:pt x="3858454" y="3378381"/>
                          <a:pt x="3871492" y="3417855"/>
                          <a:pt x="3891049" y="3444172"/>
                        </a:cubicBezTo>
                        <a:cubicBezTo>
                          <a:pt x="3910607" y="3470487"/>
                          <a:pt x="3936683" y="3490224"/>
                          <a:pt x="3949721" y="3516541"/>
                        </a:cubicBezTo>
                        <a:cubicBezTo>
                          <a:pt x="3962759" y="3529699"/>
                          <a:pt x="3969279" y="3549436"/>
                          <a:pt x="3969279" y="3562594"/>
                        </a:cubicBezTo>
                        <a:cubicBezTo>
                          <a:pt x="3969279" y="3575752"/>
                          <a:pt x="3969279" y="3582331"/>
                          <a:pt x="3975798" y="3588911"/>
                        </a:cubicBezTo>
                        <a:cubicBezTo>
                          <a:pt x="3975798" y="3621805"/>
                          <a:pt x="3956240" y="3641542"/>
                          <a:pt x="3975798" y="3667858"/>
                        </a:cubicBezTo>
                        <a:cubicBezTo>
                          <a:pt x="4008392" y="3713913"/>
                          <a:pt x="3956240" y="3773124"/>
                          <a:pt x="3943201" y="3819177"/>
                        </a:cubicBezTo>
                        <a:cubicBezTo>
                          <a:pt x="3936683" y="3852073"/>
                          <a:pt x="3923645" y="3898126"/>
                          <a:pt x="3943201" y="3924442"/>
                        </a:cubicBezTo>
                        <a:cubicBezTo>
                          <a:pt x="3949721" y="3931021"/>
                          <a:pt x="3962759" y="3937600"/>
                          <a:pt x="3969279" y="3944179"/>
                        </a:cubicBezTo>
                        <a:cubicBezTo>
                          <a:pt x="3982316" y="3963916"/>
                          <a:pt x="3982316" y="3983653"/>
                          <a:pt x="3988835" y="3996811"/>
                        </a:cubicBezTo>
                        <a:cubicBezTo>
                          <a:pt x="3995355" y="4009970"/>
                          <a:pt x="3995355" y="4029707"/>
                          <a:pt x="3995355" y="4042865"/>
                        </a:cubicBezTo>
                        <a:cubicBezTo>
                          <a:pt x="4001874" y="4062601"/>
                          <a:pt x="4014912" y="4069180"/>
                          <a:pt x="4021431" y="4088918"/>
                        </a:cubicBezTo>
                        <a:cubicBezTo>
                          <a:pt x="4027950" y="4141550"/>
                          <a:pt x="4014912" y="4187605"/>
                          <a:pt x="4034470" y="4233657"/>
                        </a:cubicBezTo>
                        <a:cubicBezTo>
                          <a:pt x="4047507" y="4259974"/>
                          <a:pt x="4060546" y="4286290"/>
                          <a:pt x="4073584" y="4312606"/>
                        </a:cubicBezTo>
                        <a:cubicBezTo>
                          <a:pt x="4086622" y="4325764"/>
                          <a:pt x="4093141" y="4338923"/>
                          <a:pt x="4093141" y="4358660"/>
                        </a:cubicBezTo>
                        <a:cubicBezTo>
                          <a:pt x="4099661" y="4384975"/>
                          <a:pt x="4086622" y="4417870"/>
                          <a:pt x="4086622" y="4444187"/>
                        </a:cubicBezTo>
                        <a:cubicBezTo>
                          <a:pt x="4093141" y="4483661"/>
                          <a:pt x="4125737" y="4483661"/>
                          <a:pt x="4158332" y="4470503"/>
                        </a:cubicBezTo>
                        <a:cubicBezTo>
                          <a:pt x="4177889" y="4463924"/>
                          <a:pt x="4197447" y="4457345"/>
                          <a:pt x="4223523" y="4457345"/>
                        </a:cubicBezTo>
                        <a:cubicBezTo>
                          <a:pt x="4262638" y="4463924"/>
                          <a:pt x="4308271" y="4470503"/>
                          <a:pt x="4340866" y="4450766"/>
                        </a:cubicBezTo>
                        <a:cubicBezTo>
                          <a:pt x="4360424" y="4437608"/>
                          <a:pt x="4379981" y="4411291"/>
                          <a:pt x="4393020" y="4398133"/>
                        </a:cubicBezTo>
                        <a:cubicBezTo>
                          <a:pt x="4406057" y="4384975"/>
                          <a:pt x="4406057" y="4365239"/>
                          <a:pt x="4412577" y="4352081"/>
                        </a:cubicBezTo>
                        <a:cubicBezTo>
                          <a:pt x="4425615" y="4312606"/>
                          <a:pt x="4471248" y="4299448"/>
                          <a:pt x="4484287" y="4259974"/>
                        </a:cubicBezTo>
                        <a:cubicBezTo>
                          <a:pt x="4490806" y="4240236"/>
                          <a:pt x="4490806" y="4220500"/>
                          <a:pt x="4490806" y="4200763"/>
                        </a:cubicBezTo>
                        <a:cubicBezTo>
                          <a:pt x="4503845" y="4174446"/>
                          <a:pt x="4536439" y="4167866"/>
                          <a:pt x="4542959" y="4134971"/>
                        </a:cubicBezTo>
                        <a:cubicBezTo>
                          <a:pt x="4549478" y="4108655"/>
                          <a:pt x="4575554" y="4049444"/>
                          <a:pt x="4549478" y="4023128"/>
                        </a:cubicBezTo>
                        <a:cubicBezTo>
                          <a:pt x="4536439" y="4009970"/>
                          <a:pt x="4523402" y="4009970"/>
                          <a:pt x="4529921" y="3990232"/>
                        </a:cubicBezTo>
                        <a:cubicBezTo>
                          <a:pt x="4536439" y="3970495"/>
                          <a:pt x="4555997" y="3957337"/>
                          <a:pt x="4575554" y="3944179"/>
                        </a:cubicBezTo>
                        <a:cubicBezTo>
                          <a:pt x="4601630" y="3931021"/>
                          <a:pt x="4627707" y="3931021"/>
                          <a:pt x="4647264" y="3904704"/>
                        </a:cubicBezTo>
                        <a:cubicBezTo>
                          <a:pt x="4666822" y="3884968"/>
                          <a:pt x="4666822" y="3858652"/>
                          <a:pt x="4673340" y="3832335"/>
                        </a:cubicBezTo>
                        <a:cubicBezTo>
                          <a:pt x="4673340" y="3799440"/>
                          <a:pt x="4686379" y="3773124"/>
                          <a:pt x="4692898" y="3740229"/>
                        </a:cubicBezTo>
                        <a:cubicBezTo>
                          <a:pt x="4692898" y="3713913"/>
                          <a:pt x="4686379" y="3681017"/>
                          <a:pt x="4679860" y="3648121"/>
                        </a:cubicBezTo>
                        <a:cubicBezTo>
                          <a:pt x="4666822" y="3621805"/>
                          <a:pt x="4660303" y="3588911"/>
                          <a:pt x="4653784" y="3569173"/>
                        </a:cubicBezTo>
                        <a:cubicBezTo>
                          <a:pt x="4647264" y="3556015"/>
                          <a:pt x="4640745" y="3542857"/>
                          <a:pt x="4640745" y="3529699"/>
                        </a:cubicBezTo>
                        <a:cubicBezTo>
                          <a:pt x="4640745" y="3509962"/>
                          <a:pt x="4647264" y="3483645"/>
                          <a:pt x="4653784" y="3463908"/>
                        </a:cubicBezTo>
                        <a:cubicBezTo>
                          <a:pt x="4660303" y="3450751"/>
                          <a:pt x="4673340" y="3450751"/>
                          <a:pt x="4679860" y="3437593"/>
                        </a:cubicBezTo>
                        <a:cubicBezTo>
                          <a:pt x="4686379" y="3431014"/>
                          <a:pt x="4686379" y="3417855"/>
                          <a:pt x="4692898" y="3411276"/>
                        </a:cubicBezTo>
                        <a:cubicBezTo>
                          <a:pt x="4705936" y="3391539"/>
                          <a:pt x="4725494" y="3378381"/>
                          <a:pt x="4745051" y="3358644"/>
                        </a:cubicBezTo>
                        <a:cubicBezTo>
                          <a:pt x="4764609" y="3338907"/>
                          <a:pt x="4784165" y="3312591"/>
                          <a:pt x="4803722" y="3286275"/>
                        </a:cubicBezTo>
                        <a:cubicBezTo>
                          <a:pt x="4810242" y="3273117"/>
                          <a:pt x="4810242" y="3259959"/>
                          <a:pt x="4816761" y="3253379"/>
                        </a:cubicBezTo>
                        <a:cubicBezTo>
                          <a:pt x="4836318" y="3220483"/>
                          <a:pt x="4875433" y="3207325"/>
                          <a:pt x="4901509" y="3181009"/>
                        </a:cubicBezTo>
                        <a:cubicBezTo>
                          <a:pt x="4914547" y="3161271"/>
                          <a:pt x="4914547" y="3148114"/>
                          <a:pt x="4914547" y="3128377"/>
                        </a:cubicBezTo>
                        <a:cubicBezTo>
                          <a:pt x="4914547" y="3102061"/>
                          <a:pt x="4921067" y="3088903"/>
                          <a:pt x="4934104" y="3062586"/>
                        </a:cubicBezTo>
                        <a:cubicBezTo>
                          <a:pt x="4940361" y="3049959"/>
                          <a:pt x="4952621" y="3037332"/>
                          <a:pt x="4959037" y="3018772"/>
                        </a:cubicBezTo>
                        <a:close/>
                        <a:moveTo>
                          <a:pt x="4803016" y="2890192"/>
                        </a:moveTo>
                        <a:cubicBezTo>
                          <a:pt x="4820668" y="2904312"/>
                          <a:pt x="4850472" y="2928768"/>
                          <a:pt x="4886057" y="2958205"/>
                        </a:cubicBezTo>
                        <a:cubicBezTo>
                          <a:pt x="4885178" y="2960096"/>
                          <a:pt x="4883838" y="2961998"/>
                          <a:pt x="4881952" y="2963901"/>
                        </a:cubicBezTo>
                        <a:cubicBezTo>
                          <a:pt x="4862395" y="2970480"/>
                          <a:pt x="4842837" y="2963901"/>
                          <a:pt x="4823280" y="2963901"/>
                        </a:cubicBezTo>
                        <a:cubicBezTo>
                          <a:pt x="4816761" y="2963901"/>
                          <a:pt x="4803722" y="2963901"/>
                          <a:pt x="4790685" y="2963901"/>
                        </a:cubicBezTo>
                        <a:cubicBezTo>
                          <a:pt x="4777646" y="2957322"/>
                          <a:pt x="4777646" y="2950743"/>
                          <a:pt x="4771127" y="2937585"/>
                        </a:cubicBezTo>
                        <a:lnTo>
                          <a:pt x="4760609" y="2920658"/>
                        </a:lnTo>
                        <a:cubicBezTo>
                          <a:pt x="4777292" y="2914129"/>
                          <a:pt x="4791700" y="2903704"/>
                          <a:pt x="4803016" y="2890192"/>
                        </a:cubicBezTo>
                        <a:close/>
                        <a:moveTo>
                          <a:pt x="1665982" y="2869710"/>
                        </a:moveTo>
                        <a:lnTo>
                          <a:pt x="1719532" y="2981006"/>
                        </a:lnTo>
                        <a:cubicBezTo>
                          <a:pt x="1715881" y="2980234"/>
                          <a:pt x="1712131" y="2981727"/>
                          <a:pt x="1707589" y="2984018"/>
                        </a:cubicBezTo>
                        <a:cubicBezTo>
                          <a:pt x="1694555" y="2990594"/>
                          <a:pt x="1681521" y="2997170"/>
                          <a:pt x="1675004" y="3010322"/>
                        </a:cubicBezTo>
                        <a:cubicBezTo>
                          <a:pt x="1668487" y="3023473"/>
                          <a:pt x="1668487" y="3043202"/>
                          <a:pt x="1655453" y="3049777"/>
                        </a:cubicBezTo>
                        <a:cubicBezTo>
                          <a:pt x="1648936" y="3056353"/>
                          <a:pt x="1629385" y="3056353"/>
                          <a:pt x="1622868" y="3049777"/>
                        </a:cubicBezTo>
                        <a:cubicBezTo>
                          <a:pt x="1609834" y="3043202"/>
                          <a:pt x="1596800" y="3030049"/>
                          <a:pt x="1583766" y="3023473"/>
                        </a:cubicBezTo>
                        <a:cubicBezTo>
                          <a:pt x="1568052" y="3018188"/>
                          <a:pt x="1552337" y="3025647"/>
                          <a:pt x="1536433" y="3027828"/>
                        </a:cubicBezTo>
                        <a:cubicBezTo>
                          <a:pt x="1552912" y="2974808"/>
                          <a:pt x="1571420" y="2924407"/>
                          <a:pt x="1591463" y="2876899"/>
                        </a:cubicBezTo>
                        <a:cubicBezTo>
                          <a:pt x="1598560" y="2878655"/>
                          <a:pt x="1605895" y="2879104"/>
                          <a:pt x="1613334" y="2879104"/>
                        </a:cubicBezTo>
                        <a:close/>
                        <a:moveTo>
                          <a:pt x="4676169" y="2656661"/>
                        </a:moveTo>
                        <a:cubicBezTo>
                          <a:pt x="4735087" y="2656661"/>
                          <a:pt x="4782849" y="2704423"/>
                          <a:pt x="4782849" y="2763341"/>
                        </a:cubicBezTo>
                        <a:cubicBezTo>
                          <a:pt x="4782849" y="2822259"/>
                          <a:pt x="4735087" y="2870021"/>
                          <a:pt x="4676169" y="2870021"/>
                        </a:cubicBezTo>
                        <a:cubicBezTo>
                          <a:pt x="4617251" y="2870021"/>
                          <a:pt x="4569489" y="2822259"/>
                          <a:pt x="4569489" y="2763341"/>
                        </a:cubicBezTo>
                        <a:cubicBezTo>
                          <a:pt x="4569489" y="2704423"/>
                          <a:pt x="4617251" y="2656661"/>
                          <a:pt x="4676169" y="2656661"/>
                        </a:cubicBezTo>
                        <a:close/>
                        <a:moveTo>
                          <a:pt x="1617042" y="2589226"/>
                        </a:moveTo>
                        <a:cubicBezTo>
                          <a:pt x="1675960" y="2589226"/>
                          <a:pt x="1723722" y="2636988"/>
                          <a:pt x="1723722" y="2695906"/>
                        </a:cubicBezTo>
                        <a:cubicBezTo>
                          <a:pt x="1723722" y="2749566"/>
                          <a:pt x="1684105" y="2793972"/>
                          <a:pt x="1632240" y="2799518"/>
                        </a:cubicBezTo>
                        <a:cubicBezTo>
                          <a:pt x="1632429" y="2799976"/>
                          <a:pt x="1632643" y="2800422"/>
                          <a:pt x="1632858" y="2800867"/>
                        </a:cubicBezTo>
                        <a:cubicBezTo>
                          <a:pt x="1626799" y="2804172"/>
                          <a:pt x="1620141" y="2804809"/>
                          <a:pt x="1613334" y="2804809"/>
                        </a:cubicBezTo>
                        <a:cubicBezTo>
                          <a:pt x="1554416" y="2804809"/>
                          <a:pt x="1506654" y="2757047"/>
                          <a:pt x="1506654" y="2698129"/>
                        </a:cubicBezTo>
                        <a:cubicBezTo>
                          <a:pt x="1506654" y="2672937"/>
                          <a:pt x="1515386" y="2649784"/>
                          <a:pt x="1532562" y="2633889"/>
                        </a:cubicBezTo>
                        <a:cubicBezTo>
                          <a:pt x="1535652" y="2626501"/>
                          <a:pt x="1540931" y="2620754"/>
                          <a:pt x="1547520" y="2616486"/>
                        </a:cubicBezTo>
                        <a:cubicBezTo>
                          <a:pt x="1547628" y="2616155"/>
                          <a:pt x="1547856" y="2615990"/>
                          <a:pt x="1548086" y="2615827"/>
                        </a:cubicBezTo>
                        <a:lnTo>
                          <a:pt x="1548183" y="2616039"/>
                        </a:lnTo>
                        <a:cubicBezTo>
                          <a:pt x="1566071" y="2598980"/>
                          <a:pt x="1590417" y="2589226"/>
                          <a:pt x="1617042" y="2589226"/>
                        </a:cubicBezTo>
                        <a:close/>
                        <a:moveTo>
                          <a:pt x="4515253" y="2367675"/>
                        </a:moveTo>
                        <a:lnTo>
                          <a:pt x="4542959" y="2371787"/>
                        </a:lnTo>
                        <a:cubicBezTo>
                          <a:pt x="4555997" y="2384945"/>
                          <a:pt x="4575554" y="2404682"/>
                          <a:pt x="4582073" y="2424420"/>
                        </a:cubicBezTo>
                        <a:cubicBezTo>
                          <a:pt x="4588593" y="2437577"/>
                          <a:pt x="4588593" y="2450735"/>
                          <a:pt x="4601630" y="2470472"/>
                        </a:cubicBezTo>
                        <a:cubicBezTo>
                          <a:pt x="4608149" y="2483630"/>
                          <a:pt x="4614669" y="2490209"/>
                          <a:pt x="4621188" y="2516526"/>
                        </a:cubicBezTo>
                        <a:cubicBezTo>
                          <a:pt x="4627707" y="2536263"/>
                          <a:pt x="4634227" y="2549421"/>
                          <a:pt x="4647264" y="2562579"/>
                        </a:cubicBezTo>
                        <a:lnTo>
                          <a:pt x="4656263" y="2584373"/>
                        </a:lnTo>
                        <a:cubicBezTo>
                          <a:pt x="4634524" y="2585839"/>
                          <a:pt x="4614034" y="2592033"/>
                          <a:pt x="4596205" y="2603007"/>
                        </a:cubicBezTo>
                        <a:cubicBezTo>
                          <a:pt x="4582714" y="2584182"/>
                          <a:pt x="4569671" y="2564502"/>
                          <a:pt x="4562516" y="2542842"/>
                        </a:cubicBezTo>
                        <a:cubicBezTo>
                          <a:pt x="4555997" y="2529684"/>
                          <a:pt x="4562516" y="2503368"/>
                          <a:pt x="4555997" y="2483630"/>
                        </a:cubicBezTo>
                        <a:cubicBezTo>
                          <a:pt x="4549478" y="2470472"/>
                          <a:pt x="4536439" y="2450735"/>
                          <a:pt x="4529921" y="2430998"/>
                        </a:cubicBezTo>
                        <a:cubicBezTo>
                          <a:pt x="4523402" y="2424420"/>
                          <a:pt x="4490806" y="2391524"/>
                          <a:pt x="4497325" y="2378366"/>
                        </a:cubicBezTo>
                        <a:cubicBezTo>
                          <a:pt x="4497325" y="2368498"/>
                          <a:pt x="4505474" y="2366853"/>
                          <a:pt x="4515253" y="2367675"/>
                        </a:cubicBezTo>
                        <a:close/>
                        <a:moveTo>
                          <a:pt x="4920455" y="2321621"/>
                        </a:moveTo>
                        <a:cubicBezTo>
                          <a:pt x="4927178" y="2321210"/>
                          <a:pt x="4934105" y="2322444"/>
                          <a:pt x="4940624" y="2325733"/>
                        </a:cubicBezTo>
                        <a:cubicBezTo>
                          <a:pt x="4953662" y="2345471"/>
                          <a:pt x="4953662" y="2371787"/>
                          <a:pt x="4966700" y="2391524"/>
                        </a:cubicBezTo>
                        <a:cubicBezTo>
                          <a:pt x="4979738" y="2424420"/>
                          <a:pt x="5005814" y="2424420"/>
                          <a:pt x="5038410" y="2424420"/>
                        </a:cubicBezTo>
                        <a:cubicBezTo>
                          <a:pt x="5071005" y="2424420"/>
                          <a:pt x="5090563" y="2424420"/>
                          <a:pt x="5116639" y="2450735"/>
                        </a:cubicBezTo>
                        <a:cubicBezTo>
                          <a:pt x="5129677" y="2463893"/>
                          <a:pt x="5142716" y="2483630"/>
                          <a:pt x="5168792" y="2483630"/>
                        </a:cubicBezTo>
                        <a:cubicBezTo>
                          <a:pt x="5178342" y="2488449"/>
                          <a:pt x="5191389" y="2489738"/>
                          <a:pt x="5205269" y="2493172"/>
                        </a:cubicBezTo>
                        <a:cubicBezTo>
                          <a:pt x="5212550" y="2557094"/>
                          <a:pt x="5214977" y="2621868"/>
                          <a:pt x="5214977" y="2687211"/>
                        </a:cubicBezTo>
                        <a:cubicBezTo>
                          <a:pt x="5214977" y="2843611"/>
                          <a:pt x="5201071" y="2996733"/>
                          <a:pt x="5173973" y="3145285"/>
                        </a:cubicBezTo>
                        <a:lnTo>
                          <a:pt x="4979683" y="2983744"/>
                        </a:lnTo>
                        <a:cubicBezTo>
                          <a:pt x="4979703" y="2983709"/>
                          <a:pt x="4979721" y="2983674"/>
                          <a:pt x="4979738" y="2983638"/>
                        </a:cubicBezTo>
                        <a:cubicBezTo>
                          <a:pt x="4979738" y="2970480"/>
                          <a:pt x="4992777" y="2944164"/>
                          <a:pt x="4986258" y="2931006"/>
                        </a:cubicBezTo>
                        <a:cubicBezTo>
                          <a:pt x="4979738" y="2917847"/>
                          <a:pt x="4966700" y="2924427"/>
                          <a:pt x="4960181" y="2931006"/>
                        </a:cubicBezTo>
                        <a:cubicBezTo>
                          <a:pt x="4950715" y="2940560"/>
                          <a:pt x="4944685" y="2943177"/>
                          <a:pt x="4934541" y="2946211"/>
                        </a:cubicBezTo>
                        <a:lnTo>
                          <a:pt x="4855832" y="2880769"/>
                        </a:lnTo>
                        <a:cubicBezTo>
                          <a:pt x="4860129" y="2879037"/>
                          <a:pt x="4864521" y="2878373"/>
                          <a:pt x="4868913" y="2878373"/>
                        </a:cubicBezTo>
                        <a:cubicBezTo>
                          <a:pt x="4888471" y="2871794"/>
                          <a:pt x="4908028" y="2878373"/>
                          <a:pt x="4927586" y="2871794"/>
                        </a:cubicBezTo>
                        <a:cubicBezTo>
                          <a:pt x="4934104" y="2865216"/>
                          <a:pt x="4934104" y="2845479"/>
                          <a:pt x="4947143" y="2838900"/>
                        </a:cubicBezTo>
                        <a:cubicBezTo>
                          <a:pt x="4960181" y="2832320"/>
                          <a:pt x="4979738" y="2845479"/>
                          <a:pt x="4992777" y="2825741"/>
                        </a:cubicBezTo>
                        <a:cubicBezTo>
                          <a:pt x="4999295" y="2819162"/>
                          <a:pt x="4992777" y="2799425"/>
                          <a:pt x="4999295" y="2792846"/>
                        </a:cubicBezTo>
                        <a:cubicBezTo>
                          <a:pt x="5005814" y="2766530"/>
                          <a:pt x="5044929" y="2759951"/>
                          <a:pt x="5064486" y="2746792"/>
                        </a:cubicBezTo>
                        <a:cubicBezTo>
                          <a:pt x="5077525" y="2746792"/>
                          <a:pt x="5090563" y="2733633"/>
                          <a:pt x="5103601" y="2733633"/>
                        </a:cubicBezTo>
                        <a:cubicBezTo>
                          <a:pt x="5116639" y="2727054"/>
                          <a:pt x="5136196" y="2720475"/>
                          <a:pt x="5149235" y="2713897"/>
                        </a:cubicBezTo>
                        <a:cubicBezTo>
                          <a:pt x="5168792" y="2700739"/>
                          <a:pt x="5175311" y="2667843"/>
                          <a:pt x="5175311" y="2648106"/>
                        </a:cubicBezTo>
                        <a:cubicBezTo>
                          <a:pt x="5181830" y="2621790"/>
                          <a:pt x="5188350" y="2595474"/>
                          <a:pt x="5175311" y="2569157"/>
                        </a:cubicBezTo>
                        <a:cubicBezTo>
                          <a:pt x="5162273" y="2542842"/>
                          <a:pt x="5136196" y="2542842"/>
                          <a:pt x="5123159" y="2523105"/>
                        </a:cubicBezTo>
                        <a:cubicBezTo>
                          <a:pt x="5110120" y="2509947"/>
                          <a:pt x="5110120" y="2496788"/>
                          <a:pt x="5090563" y="2503368"/>
                        </a:cubicBezTo>
                        <a:cubicBezTo>
                          <a:pt x="5071005" y="2503368"/>
                          <a:pt x="5077525" y="2542842"/>
                          <a:pt x="5051449" y="2549421"/>
                        </a:cubicBezTo>
                        <a:cubicBezTo>
                          <a:pt x="5025372" y="2562579"/>
                          <a:pt x="4979738" y="2529684"/>
                          <a:pt x="4960181" y="2516526"/>
                        </a:cubicBezTo>
                        <a:cubicBezTo>
                          <a:pt x="4947143" y="2503368"/>
                          <a:pt x="4940624" y="2490209"/>
                          <a:pt x="4934104" y="2477051"/>
                        </a:cubicBezTo>
                        <a:cubicBezTo>
                          <a:pt x="4934104" y="2463893"/>
                          <a:pt x="4934104" y="2450735"/>
                          <a:pt x="4934104" y="2437577"/>
                        </a:cubicBezTo>
                        <a:cubicBezTo>
                          <a:pt x="4927586" y="2417840"/>
                          <a:pt x="4914547" y="2404682"/>
                          <a:pt x="4901509" y="2391524"/>
                        </a:cubicBezTo>
                        <a:cubicBezTo>
                          <a:pt x="4888471" y="2384945"/>
                          <a:pt x="4888471" y="2371787"/>
                          <a:pt x="4881952" y="2358629"/>
                        </a:cubicBezTo>
                        <a:cubicBezTo>
                          <a:pt x="4881952" y="2338891"/>
                          <a:pt x="4900287" y="2322855"/>
                          <a:pt x="4920455" y="2321621"/>
                        </a:cubicBezTo>
                        <a:close/>
                        <a:moveTo>
                          <a:pt x="1362188" y="2313278"/>
                        </a:moveTo>
                        <a:cubicBezTo>
                          <a:pt x="1387194" y="2313278"/>
                          <a:pt x="1408361" y="2317151"/>
                          <a:pt x="1427105" y="2333107"/>
                        </a:cubicBezTo>
                        <a:cubicBezTo>
                          <a:pt x="1457852" y="2407444"/>
                          <a:pt x="1488228" y="2478997"/>
                          <a:pt x="1518593" y="2548209"/>
                        </a:cubicBezTo>
                        <a:cubicBezTo>
                          <a:pt x="1507316" y="2551717"/>
                          <a:pt x="1498450" y="2558846"/>
                          <a:pt x="1490360" y="2566793"/>
                        </a:cubicBezTo>
                        <a:cubicBezTo>
                          <a:pt x="1485963" y="2565735"/>
                          <a:pt x="1481621" y="2565994"/>
                          <a:pt x="1478640" y="2569036"/>
                        </a:cubicBezTo>
                        <a:cubicBezTo>
                          <a:pt x="1465611" y="2569036"/>
                          <a:pt x="1459098" y="2569036"/>
                          <a:pt x="1459098" y="2575688"/>
                        </a:cubicBezTo>
                        <a:cubicBezTo>
                          <a:pt x="1450534" y="2588806"/>
                          <a:pt x="1461672" y="2590427"/>
                          <a:pt x="1472152" y="2589758"/>
                        </a:cubicBezTo>
                        <a:cubicBezTo>
                          <a:pt x="1446308" y="2618446"/>
                          <a:pt x="1432359" y="2656658"/>
                          <a:pt x="1432359" y="2698129"/>
                        </a:cubicBezTo>
                        <a:cubicBezTo>
                          <a:pt x="1432359" y="2778081"/>
                          <a:pt x="1484204" y="2845923"/>
                          <a:pt x="1556377" y="2869069"/>
                        </a:cubicBezTo>
                        <a:lnTo>
                          <a:pt x="1501687" y="3028094"/>
                        </a:lnTo>
                        <a:cubicBezTo>
                          <a:pt x="1493723" y="3026583"/>
                          <a:pt x="1485837" y="3023298"/>
                          <a:pt x="1479494" y="3016898"/>
                        </a:cubicBezTo>
                        <a:cubicBezTo>
                          <a:pt x="1472978" y="3003746"/>
                          <a:pt x="1472978" y="2984018"/>
                          <a:pt x="1472978" y="2970867"/>
                        </a:cubicBezTo>
                        <a:cubicBezTo>
                          <a:pt x="1466460" y="2957714"/>
                          <a:pt x="1459943" y="2951138"/>
                          <a:pt x="1453427" y="2937987"/>
                        </a:cubicBezTo>
                        <a:cubicBezTo>
                          <a:pt x="1446909" y="2931411"/>
                          <a:pt x="1446909" y="2911683"/>
                          <a:pt x="1446909" y="2898531"/>
                        </a:cubicBezTo>
                        <a:cubicBezTo>
                          <a:pt x="1446909" y="2872228"/>
                          <a:pt x="1453427" y="2852501"/>
                          <a:pt x="1440392" y="2826197"/>
                        </a:cubicBezTo>
                        <a:cubicBezTo>
                          <a:pt x="1433876" y="2819622"/>
                          <a:pt x="1427358" y="2806470"/>
                          <a:pt x="1420841" y="2806470"/>
                        </a:cubicBezTo>
                        <a:cubicBezTo>
                          <a:pt x="1401290" y="2799893"/>
                          <a:pt x="1388256" y="2806470"/>
                          <a:pt x="1375223" y="2806470"/>
                        </a:cubicBezTo>
                        <a:cubicBezTo>
                          <a:pt x="1362188" y="2813046"/>
                          <a:pt x="1349154" y="2813046"/>
                          <a:pt x="1336121" y="2813046"/>
                        </a:cubicBezTo>
                        <a:cubicBezTo>
                          <a:pt x="1323086" y="2813046"/>
                          <a:pt x="1310052" y="2806470"/>
                          <a:pt x="1316569" y="2793318"/>
                        </a:cubicBezTo>
                        <a:cubicBezTo>
                          <a:pt x="1329603" y="2780166"/>
                          <a:pt x="1342637" y="2767015"/>
                          <a:pt x="1342637" y="2753862"/>
                        </a:cubicBezTo>
                        <a:cubicBezTo>
                          <a:pt x="1349154" y="2740711"/>
                          <a:pt x="1342637" y="2740711"/>
                          <a:pt x="1336121" y="2727559"/>
                        </a:cubicBezTo>
                        <a:cubicBezTo>
                          <a:pt x="1336076" y="2727481"/>
                          <a:pt x="1329623" y="2714407"/>
                          <a:pt x="1336121" y="2714407"/>
                        </a:cubicBezTo>
                        <a:cubicBezTo>
                          <a:pt x="1336168" y="2714459"/>
                          <a:pt x="1342559" y="2720904"/>
                          <a:pt x="1342637" y="2720983"/>
                        </a:cubicBezTo>
                        <a:cubicBezTo>
                          <a:pt x="1349154" y="2720983"/>
                          <a:pt x="1355672" y="2720983"/>
                          <a:pt x="1362188" y="2720983"/>
                        </a:cubicBezTo>
                        <a:cubicBezTo>
                          <a:pt x="1362188" y="2714407"/>
                          <a:pt x="1355672" y="2701255"/>
                          <a:pt x="1362188" y="2694680"/>
                        </a:cubicBezTo>
                        <a:cubicBezTo>
                          <a:pt x="1362188" y="2688104"/>
                          <a:pt x="1362188" y="2674951"/>
                          <a:pt x="1368705" y="2668376"/>
                        </a:cubicBezTo>
                        <a:cubicBezTo>
                          <a:pt x="1368705" y="2655224"/>
                          <a:pt x="1375223" y="2642072"/>
                          <a:pt x="1368705" y="2628920"/>
                        </a:cubicBezTo>
                        <a:cubicBezTo>
                          <a:pt x="1362188" y="2622345"/>
                          <a:pt x="1349154" y="2615769"/>
                          <a:pt x="1342637" y="2615769"/>
                        </a:cubicBezTo>
                        <a:cubicBezTo>
                          <a:pt x="1323086" y="2615769"/>
                          <a:pt x="1303536" y="2628920"/>
                          <a:pt x="1290501" y="2642072"/>
                        </a:cubicBezTo>
                        <a:cubicBezTo>
                          <a:pt x="1277467" y="2655224"/>
                          <a:pt x="1270950" y="2674951"/>
                          <a:pt x="1264434" y="2688104"/>
                        </a:cubicBezTo>
                        <a:cubicBezTo>
                          <a:pt x="1251399" y="2707831"/>
                          <a:pt x="1218814" y="2714407"/>
                          <a:pt x="1199263" y="2720983"/>
                        </a:cubicBezTo>
                        <a:cubicBezTo>
                          <a:pt x="1186230" y="2720983"/>
                          <a:pt x="1173195" y="2727559"/>
                          <a:pt x="1160161" y="2727559"/>
                        </a:cubicBezTo>
                        <a:cubicBezTo>
                          <a:pt x="1147128" y="2720983"/>
                          <a:pt x="1147128" y="2701255"/>
                          <a:pt x="1140610" y="2688104"/>
                        </a:cubicBezTo>
                        <a:cubicBezTo>
                          <a:pt x="1134093" y="2681527"/>
                          <a:pt x="1127577" y="2668376"/>
                          <a:pt x="1121059" y="2661800"/>
                        </a:cubicBezTo>
                        <a:cubicBezTo>
                          <a:pt x="1101508" y="2642072"/>
                          <a:pt x="1094992" y="2602616"/>
                          <a:pt x="1094992" y="2576313"/>
                        </a:cubicBezTo>
                        <a:cubicBezTo>
                          <a:pt x="1094992" y="2556585"/>
                          <a:pt x="1094992" y="2536858"/>
                          <a:pt x="1101508" y="2523705"/>
                        </a:cubicBezTo>
                        <a:cubicBezTo>
                          <a:pt x="1101508" y="2510554"/>
                          <a:pt x="1108026" y="2503978"/>
                          <a:pt x="1108026" y="2490827"/>
                        </a:cubicBezTo>
                        <a:cubicBezTo>
                          <a:pt x="1108026" y="2477674"/>
                          <a:pt x="1108026" y="2464523"/>
                          <a:pt x="1108026" y="2444795"/>
                        </a:cubicBezTo>
                        <a:cubicBezTo>
                          <a:pt x="1114543" y="2425067"/>
                          <a:pt x="1121059" y="2411916"/>
                          <a:pt x="1134093" y="2392188"/>
                        </a:cubicBezTo>
                        <a:cubicBezTo>
                          <a:pt x="1134188" y="2392094"/>
                          <a:pt x="1140610" y="2385567"/>
                          <a:pt x="1140610" y="2379037"/>
                        </a:cubicBezTo>
                        <a:cubicBezTo>
                          <a:pt x="1147128" y="2372462"/>
                          <a:pt x="1166679" y="2365885"/>
                          <a:pt x="1173195" y="2359309"/>
                        </a:cubicBezTo>
                        <a:cubicBezTo>
                          <a:pt x="1192746" y="2352733"/>
                          <a:pt x="1218814" y="2333006"/>
                          <a:pt x="1238365" y="2339582"/>
                        </a:cubicBezTo>
                        <a:cubicBezTo>
                          <a:pt x="1264434" y="2339582"/>
                          <a:pt x="1283985" y="2365885"/>
                          <a:pt x="1310052" y="2359309"/>
                        </a:cubicBezTo>
                        <a:cubicBezTo>
                          <a:pt x="1323086" y="2352733"/>
                          <a:pt x="1316569" y="2339582"/>
                          <a:pt x="1316569" y="2333006"/>
                        </a:cubicBezTo>
                        <a:cubicBezTo>
                          <a:pt x="1323086" y="2319854"/>
                          <a:pt x="1349154" y="2319854"/>
                          <a:pt x="1362188" y="2313278"/>
                        </a:cubicBezTo>
                        <a:close/>
                        <a:moveTo>
                          <a:pt x="3205841" y="1867153"/>
                        </a:moveTo>
                        <a:lnTo>
                          <a:pt x="3397286" y="1964191"/>
                        </a:lnTo>
                        <a:cubicBezTo>
                          <a:pt x="3387349" y="1974607"/>
                          <a:pt x="3383586" y="1985694"/>
                          <a:pt x="3389078" y="1996780"/>
                        </a:cubicBezTo>
                        <a:cubicBezTo>
                          <a:pt x="3389078" y="2023097"/>
                          <a:pt x="3402117" y="2055992"/>
                          <a:pt x="3421674" y="2069150"/>
                        </a:cubicBezTo>
                        <a:cubicBezTo>
                          <a:pt x="3434712" y="2069150"/>
                          <a:pt x="3447751" y="2075729"/>
                          <a:pt x="3454269" y="2075729"/>
                        </a:cubicBezTo>
                        <a:cubicBezTo>
                          <a:pt x="3467308" y="2088888"/>
                          <a:pt x="3480346" y="2095467"/>
                          <a:pt x="3499903" y="2095467"/>
                        </a:cubicBezTo>
                        <a:cubicBezTo>
                          <a:pt x="3512942" y="2095467"/>
                          <a:pt x="3519460" y="2088888"/>
                          <a:pt x="3532499" y="2088888"/>
                        </a:cubicBezTo>
                        <a:cubicBezTo>
                          <a:pt x="3545537" y="2088888"/>
                          <a:pt x="3552057" y="2102046"/>
                          <a:pt x="3565094" y="2095467"/>
                        </a:cubicBezTo>
                        <a:cubicBezTo>
                          <a:pt x="3578133" y="2095467"/>
                          <a:pt x="3584651" y="2088888"/>
                          <a:pt x="3591170" y="2075729"/>
                        </a:cubicBezTo>
                        <a:lnTo>
                          <a:pt x="3594690" y="2066849"/>
                        </a:lnTo>
                        <a:lnTo>
                          <a:pt x="3669022" y="2107375"/>
                        </a:lnTo>
                        <a:cubicBezTo>
                          <a:pt x="3660251" y="2109916"/>
                          <a:pt x="3652162" y="2115094"/>
                          <a:pt x="3643324" y="2121783"/>
                        </a:cubicBezTo>
                        <a:cubicBezTo>
                          <a:pt x="3610728" y="2141519"/>
                          <a:pt x="3591170" y="2161256"/>
                          <a:pt x="3558575" y="2148098"/>
                        </a:cubicBezTo>
                        <a:cubicBezTo>
                          <a:pt x="3539018" y="2141519"/>
                          <a:pt x="3539018" y="2148098"/>
                          <a:pt x="3519460" y="2148098"/>
                        </a:cubicBezTo>
                        <a:cubicBezTo>
                          <a:pt x="3506423" y="2148098"/>
                          <a:pt x="3499903" y="2128361"/>
                          <a:pt x="3486865" y="2128361"/>
                        </a:cubicBezTo>
                        <a:cubicBezTo>
                          <a:pt x="3447751" y="2134940"/>
                          <a:pt x="3467308" y="2167835"/>
                          <a:pt x="3460789" y="2187573"/>
                        </a:cubicBezTo>
                        <a:cubicBezTo>
                          <a:pt x="3458220" y="2195351"/>
                          <a:pt x="3451601" y="2200064"/>
                          <a:pt x="3443526" y="2203296"/>
                        </a:cubicBezTo>
                        <a:cubicBezTo>
                          <a:pt x="3365505" y="2086791"/>
                          <a:pt x="3286717" y="1974433"/>
                          <a:pt x="3205841" y="1867153"/>
                        </a:cubicBezTo>
                        <a:close/>
                        <a:moveTo>
                          <a:pt x="3969279" y="1786252"/>
                        </a:moveTo>
                        <a:cubicBezTo>
                          <a:pt x="3982316" y="1792831"/>
                          <a:pt x="3988835" y="1799410"/>
                          <a:pt x="3995355" y="1805989"/>
                        </a:cubicBezTo>
                        <a:cubicBezTo>
                          <a:pt x="4001874" y="1819147"/>
                          <a:pt x="4008392" y="1832305"/>
                          <a:pt x="4021431" y="1838885"/>
                        </a:cubicBezTo>
                        <a:cubicBezTo>
                          <a:pt x="4034470" y="1858621"/>
                          <a:pt x="4054026" y="1871779"/>
                          <a:pt x="4073584" y="1878358"/>
                        </a:cubicBezTo>
                        <a:cubicBezTo>
                          <a:pt x="4086622" y="1884937"/>
                          <a:pt x="4106180" y="1891516"/>
                          <a:pt x="4119217" y="1898095"/>
                        </a:cubicBezTo>
                        <a:cubicBezTo>
                          <a:pt x="4125737" y="1904674"/>
                          <a:pt x="4132256" y="1911253"/>
                          <a:pt x="4138775" y="1924412"/>
                        </a:cubicBezTo>
                        <a:cubicBezTo>
                          <a:pt x="4138775" y="1937570"/>
                          <a:pt x="4138775" y="1950728"/>
                          <a:pt x="4138775" y="1970465"/>
                        </a:cubicBezTo>
                        <a:cubicBezTo>
                          <a:pt x="4145294" y="1983623"/>
                          <a:pt x="4151813" y="1996780"/>
                          <a:pt x="4164851" y="2009939"/>
                        </a:cubicBezTo>
                        <a:cubicBezTo>
                          <a:pt x="4171371" y="2016518"/>
                          <a:pt x="4171371" y="2016518"/>
                          <a:pt x="4177889" y="2023097"/>
                        </a:cubicBezTo>
                        <a:cubicBezTo>
                          <a:pt x="4184408" y="2029676"/>
                          <a:pt x="4184408" y="2029676"/>
                          <a:pt x="4190928" y="2036255"/>
                        </a:cubicBezTo>
                        <a:cubicBezTo>
                          <a:pt x="4197447" y="2042834"/>
                          <a:pt x="4217004" y="2042834"/>
                          <a:pt x="4217004" y="2049413"/>
                        </a:cubicBezTo>
                        <a:cubicBezTo>
                          <a:pt x="4223516" y="2062553"/>
                          <a:pt x="4204024" y="2056011"/>
                          <a:pt x="4203966" y="2055992"/>
                        </a:cubicBezTo>
                        <a:cubicBezTo>
                          <a:pt x="4190928" y="2055992"/>
                          <a:pt x="4190928" y="2069150"/>
                          <a:pt x="4197447" y="2075729"/>
                        </a:cubicBezTo>
                        <a:cubicBezTo>
                          <a:pt x="4197447" y="2088888"/>
                          <a:pt x="4210486" y="2095467"/>
                          <a:pt x="4223523" y="2095467"/>
                        </a:cubicBezTo>
                        <a:cubicBezTo>
                          <a:pt x="4236562" y="2095467"/>
                          <a:pt x="4236562" y="2088888"/>
                          <a:pt x="4236562" y="2082308"/>
                        </a:cubicBezTo>
                        <a:cubicBezTo>
                          <a:pt x="4236562" y="2062571"/>
                          <a:pt x="4243080" y="2062571"/>
                          <a:pt x="4256119" y="2062571"/>
                        </a:cubicBezTo>
                        <a:cubicBezTo>
                          <a:pt x="4262638" y="2062571"/>
                          <a:pt x="4269157" y="2049413"/>
                          <a:pt x="4262638" y="2036255"/>
                        </a:cubicBezTo>
                        <a:cubicBezTo>
                          <a:pt x="4262638" y="2029676"/>
                          <a:pt x="4256119" y="2023097"/>
                          <a:pt x="4249599" y="2016518"/>
                        </a:cubicBezTo>
                        <a:cubicBezTo>
                          <a:pt x="4243080" y="2009939"/>
                          <a:pt x="4236562" y="2003360"/>
                          <a:pt x="4236562" y="1990201"/>
                        </a:cubicBezTo>
                        <a:cubicBezTo>
                          <a:pt x="4243080" y="1983623"/>
                          <a:pt x="4256119" y="1983623"/>
                          <a:pt x="4262638" y="1983623"/>
                        </a:cubicBezTo>
                        <a:cubicBezTo>
                          <a:pt x="4269157" y="1977044"/>
                          <a:pt x="4269157" y="1977044"/>
                          <a:pt x="4275675" y="1977044"/>
                        </a:cubicBezTo>
                        <a:cubicBezTo>
                          <a:pt x="4275675" y="1970465"/>
                          <a:pt x="4275675" y="1963886"/>
                          <a:pt x="4275675" y="1957307"/>
                        </a:cubicBezTo>
                        <a:cubicBezTo>
                          <a:pt x="4282195" y="1950728"/>
                          <a:pt x="4288714" y="1950728"/>
                          <a:pt x="4295233" y="1950728"/>
                        </a:cubicBezTo>
                        <a:cubicBezTo>
                          <a:pt x="4301753" y="1950728"/>
                          <a:pt x="4301753" y="1950728"/>
                          <a:pt x="4308271" y="1950728"/>
                        </a:cubicBezTo>
                        <a:cubicBezTo>
                          <a:pt x="4321310" y="1957307"/>
                          <a:pt x="4321310" y="1957307"/>
                          <a:pt x="4327829" y="1970465"/>
                        </a:cubicBezTo>
                        <a:cubicBezTo>
                          <a:pt x="4334348" y="1983623"/>
                          <a:pt x="4340866" y="1996780"/>
                          <a:pt x="4340866" y="2009939"/>
                        </a:cubicBezTo>
                        <a:cubicBezTo>
                          <a:pt x="4340866" y="2036255"/>
                          <a:pt x="4334348" y="2055992"/>
                          <a:pt x="4353905" y="2082308"/>
                        </a:cubicBezTo>
                        <a:cubicBezTo>
                          <a:pt x="4360424" y="2088888"/>
                          <a:pt x="4373462" y="2088888"/>
                          <a:pt x="4379981" y="2095467"/>
                        </a:cubicBezTo>
                        <a:cubicBezTo>
                          <a:pt x="4386500" y="2102046"/>
                          <a:pt x="4393020" y="2121783"/>
                          <a:pt x="4406057" y="2128361"/>
                        </a:cubicBezTo>
                        <a:cubicBezTo>
                          <a:pt x="4425615" y="2141519"/>
                          <a:pt x="4432135" y="2115204"/>
                          <a:pt x="4451691" y="2115204"/>
                        </a:cubicBezTo>
                        <a:cubicBezTo>
                          <a:pt x="4471248" y="2102046"/>
                          <a:pt x="4477768" y="2121783"/>
                          <a:pt x="4490806" y="2128361"/>
                        </a:cubicBezTo>
                        <a:cubicBezTo>
                          <a:pt x="4510363" y="2134940"/>
                          <a:pt x="4542959" y="2128361"/>
                          <a:pt x="4549478" y="2121783"/>
                        </a:cubicBezTo>
                        <a:cubicBezTo>
                          <a:pt x="4555997" y="2115204"/>
                          <a:pt x="4569036" y="2088888"/>
                          <a:pt x="4582073" y="2108625"/>
                        </a:cubicBezTo>
                        <a:cubicBezTo>
                          <a:pt x="4608149" y="2134940"/>
                          <a:pt x="4549478" y="2187573"/>
                          <a:pt x="4555997" y="2220468"/>
                        </a:cubicBezTo>
                        <a:cubicBezTo>
                          <a:pt x="4555997" y="2233627"/>
                          <a:pt x="4569036" y="2253365"/>
                          <a:pt x="4549478" y="2266523"/>
                        </a:cubicBezTo>
                        <a:cubicBezTo>
                          <a:pt x="4529921" y="2273102"/>
                          <a:pt x="4503845" y="2266523"/>
                          <a:pt x="4484287" y="2273102"/>
                        </a:cubicBezTo>
                        <a:cubicBezTo>
                          <a:pt x="4471248" y="2273102"/>
                          <a:pt x="4458211" y="2279681"/>
                          <a:pt x="4445172" y="2286259"/>
                        </a:cubicBezTo>
                        <a:cubicBezTo>
                          <a:pt x="4425615" y="2299417"/>
                          <a:pt x="4412577" y="2292838"/>
                          <a:pt x="4393020" y="2286259"/>
                        </a:cubicBezTo>
                        <a:cubicBezTo>
                          <a:pt x="4386500" y="2279681"/>
                          <a:pt x="4379981" y="2279681"/>
                          <a:pt x="4373462" y="2279681"/>
                        </a:cubicBezTo>
                        <a:cubicBezTo>
                          <a:pt x="4366944" y="2279681"/>
                          <a:pt x="4366944" y="2286259"/>
                          <a:pt x="4360424" y="2286259"/>
                        </a:cubicBezTo>
                        <a:cubicBezTo>
                          <a:pt x="4353905" y="2292838"/>
                          <a:pt x="4353905" y="2286259"/>
                          <a:pt x="4340866" y="2286259"/>
                        </a:cubicBezTo>
                        <a:cubicBezTo>
                          <a:pt x="4314790" y="2286259"/>
                          <a:pt x="4288714" y="2292838"/>
                          <a:pt x="4262638" y="2273102"/>
                        </a:cubicBezTo>
                        <a:cubicBezTo>
                          <a:pt x="4243080" y="2253365"/>
                          <a:pt x="4223523" y="2233627"/>
                          <a:pt x="4197447" y="2233627"/>
                        </a:cubicBezTo>
                        <a:cubicBezTo>
                          <a:pt x="4177889" y="2240206"/>
                          <a:pt x="4158332" y="2246785"/>
                          <a:pt x="4151813" y="2273102"/>
                        </a:cubicBezTo>
                        <a:cubicBezTo>
                          <a:pt x="4151813" y="2286259"/>
                          <a:pt x="4158332" y="2305996"/>
                          <a:pt x="4138775" y="2312575"/>
                        </a:cubicBezTo>
                        <a:cubicBezTo>
                          <a:pt x="4119217" y="2325733"/>
                          <a:pt x="4060546" y="2305996"/>
                          <a:pt x="4047507" y="2286259"/>
                        </a:cubicBezTo>
                        <a:cubicBezTo>
                          <a:pt x="4027950" y="2266523"/>
                          <a:pt x="4008392" y="2253365"/>
                          <a:pt x="3975798" y="2246785"/>
                        </a:cubicBezTo>
                        <a:cubicBezTo>
                          <a:pt x="3949721" y="2240206"/>
                          <a:pt x="3917125" y="2227047"/>
                          <a:pt x="3904088" y="2200731"/>
                        </a:cubicBezTo>
                        <a:cubicBezTo>
                          <a:pt x="3891049" y="2167835"/>
                          <a:pt x="3936683" y="2108625"/>
                          <a:pt x="3897568" y="2082308"/>
                        </a:cubicBezTo>
                        <a:cubicBezTo>
                          <a:pt x="3871492" y="2075729"/>
                          <a:pt x="3838897" y="2075729"/>
                          <a:pt x="3819339" y="2088888"/>
                        </a:cubicBezTo>
                        <a:cubicBezTo>
                          <a:pt x="3791156" y="2094577"/>
                          <a:pt x="3762972" y="2100265"/>
                          <a:pt x="3734942" y="2095918"/>
                        </a:cubicBezTo>
                        <a:lnTo>
                          <a:pt x="3629942" y="2039026"/>
                        </a:lnTo>
                        <a:cubicBezTo>
                          <a:pt x="3634400" y="2034399"/>
                          <a:pt x="3636805" y="2028748"/>
                          <a:pt x="3636805" y="2023097"/>
                        </a:cubicBezTo>
                        <a:cubicBezTo>
                          <a:pt x="3643324" y="2009939"/>
                          <a:pt x="3636805" y="1996780"/>
                          <a:pt x="3643324" y="1977044"/>
                        </a:cubicBezTo>
                        <a:cubicBezTo>
                          <a:pt x="3656361" y="1963886"/>
                          <a:pt x="3662881" y="1937570"/>
                          <a:pt x="3682439" y="1930991"/>
                        </a:cubicBezTo>
                        <a:cubicBezTo>
                          <a:pt x="3688957" y="1924412"/>
                          <a:pt x="3715033" y="1917832"/>
                          <a:pt x="3721552" y="1911253"/>
                        </a:cubicBezTo>
                        <a:cubicBezTo>
                          <a:pt x="3728072" y="1891516"/>
                          <a:pt x="3715033" y="1871779"/>
                          <a:pt x="3728072" y="1858621"/>
                        </a:cubicBezTo>
                        <a:cubicBezTo>
                          <a:pt x="3734591" y="1852042"/>
                          <a:pt x="3747630" y="1852042"/>
                          <a:pt x="3760667" y="1852042"/>
                        </a:cubicBezTo>
                        <a:cubicBezTo>
                          <a:pt x="3767186" y="1852042"/>
                          <a:pt x="3780225" y="1858621"/>
                          <a:pt x="3793263" y="1858621"/>
                        </a:cubicBezTo>
                        <a:cubicBezTo>
                          <a:pt x="3799782" y="1865200"/>
                          <a:pt x="3806301" y="1858621"/>
                          <a:pt x="3819339" y="1852042"/>
                        </a:cubicBezTo>
                        <a:cubicBezTo>
                          <a:pt x="3825858" y="1845464"/>
                          <a:pt x="3838897" y="1832305"/>
                          <a:pt x="3845416" y="1825726"/>
                        </a:cubicBezTo>
                        <a:cubicBezTo>
                          <a:pt x="3851934" y="1819147"/>
                          <a:pt x="3858454" y="1819147"/>
                          <a:pt x="3871492" y="1819147"/>
                        </a:cubicBezTo>
                        <a:cubicBezTo>
                          <a:pt x="3891049" y="1819147"/>
                          <a:pt x="3904088" y="1838885"/>
                          <a:pt x="3910607" y="1852042"/>
                        </a:cubicBezTo>
                        <a:cubicBezTo>
                          <a:pt x="3910607" y="1865200"/>
                          <a:pt x="3917125" y="1871779"/>
                          <a:pt x="3923645" y="1884937"/>
                        </a:cubicBezTo>
                        <a:cubicBezTo>
                          <a:pt x="3923645" y="1891516"/>
                          <a:pt x="3930164" y="1898095"/>
                          <a:pt x="3936683" y="1904674"/>
                        </a:cubicBezTo>
                        <a:cubicBezTo>
                          <a:pt x="3949721" y="1917832"/>
                          <a:pt x="3969279" y="1930991"/>
                          <a:pt x="3982316" y="1937570"/>
                        </a:cubicBezTo>
                        <a:cubicBezTo>
                          <a:pt x="4008392" y="1944149"/>
                          <a:pt x="4021431" y="1950728"/>
                          <a:pt x="4034470" y="1977044"/>
                        </a:cubicBezTo>
                        <a:cubicBezTo>
                          <a:pt x="4040989" y="1990201"/>
                          <a:pt x="4047507" y="2003360"/>
                          <a:pt x="4047507" y="2023097"/>
                        </a:cubicBezTo>
                        <a:cubicBezTo>
                          <a:pt x="4047481" y="2023126"/>
                          <a:pt x="4040989" y="2029691"/>
                          <a:pt x="4040989" y="2036255"/>
                        </a:cubicBezTo>
                        <a:cubicBezTo>
                          <a:pt x="4040989" y="2042799"/>
                          <a:pt x="4040989" y="2049341"/>
                          <a:pt x="4040989" y="2049413"/>
                        </a:cubicBezTo>
                        <a:cubicBezTo>
                          <a:pt x="4034470" y="2055992"/>
                          <a:pt x="4027950" y="2055992"/>
                          <a:pt x="4021431" y="2055992"/>
                        </a:cubicBezTo>
                        <a:cubicBezTo>
                          <a:pt x="4008392" y="2055992"/>
                          <a:pt x="4001874" y="2049413"/>
                          <a:pt x="3988835" y="2049413"/>
                        </a:cubicBezTo>
                        <a:cubicBezTo>
                          <a:pt x="3969279" y="2055992"/>
                          <a:pt x="3969279" y="2069150"/>
                          <a:pt x="3982316" y="2082308"/>
                        </a:cubicBezTo>
                        <a:cubicBezTo>
                          <a:pt x="3988835" y="2088888"/>
                          <a:pt x="3995355" y="2088888"/>
                          <a:pt x="4001874" y="2088888"/>
                        </a:cubicBezTo>
                        <a:cubicBezTo>
                          <a:pt x="4008392" y="2095467"/>
                          <a:pt x="4014912" y="2095467"/>
                          <a:pt x="4021431" y="2088888"/>
                        </a:cubicBezTo>
                        <a:cubicBezTo>
                          <a:pt x="4027950" y="2082308"/>
                          <a:pt x="4027950" y="2075729"/>
                          <a:pt x="4034470" y="2069150"/>
                        </a:cubicBezTo>
                        <a:cubicBezTo>
                          <a:pt x="4040989" y="2062571"/>
                          <a:pt x="4047507" y="2062571"/>
                          <a:pt x="4054026" y="2055992"/>
                        </a:cubicBezTo>
                        <a:cubicBezTo>
                          <a:pt x="4054026" y="2055966"/>
                          <a:pt x="4054026" y="2049444"/>
                          <a:pt x="4054026" y="2049413"/>
                        </a:cubicBezTo>
                        <a:cubicBezTo>
                          <a:pt x="4060546" y="2042834"/>
                          <a:pt x="4060546" y="2042834"/>
                          <a:pt x="4067065" y="2036255"/>
                        </a:cubicBezTo>
                        <a:cubicBezTo>
                          <a:pt x="4067124" y="2036200"/>
                          <a:pt x="4073584" y="2029656"/>
                          <a:pt x="4073584" y="2023097"/>
                        </a:cubicBezTo>
                        <a:cubicBezTo>
                          <a:pt x="4080103" y="2009939"/>
                          <a:pt x="4080103" y="2009939"/>
                          <a:pt x="4073584" y="1996780"/>
                        </a:cubicBezTo>
                        <a:cubicBezTo>
                          <a:pt x="4067065" y="1990201"/>
                          <a:pt x="4067065" y="1977044"/>
                          <a:pt x="4073584" y="1970465"/>
                        </a:cubicBezTo>
                        <a:cubicBezTo>
                          <a:pt x="4080103" y="1957307"/>
                          <a:pt x="4099661" y="1983623"/>
                          <a:pt x="4106180" y="1977044"/>
                        </a:cubicBezTo>
                        <a:cubicBezTo>
                          <a:pt x="4119217" y="1970465"/>
                          <a:pt x="4093141" y="1950728"/>
                          <a:pt x="4086622" y="1944149"/>
                        </a:cubicBezTo>
                        <a:cubicBezTo>
                          <a:pt x="4080103" y="1944149"/>
                          <a:pt x="4073584" y="1944149"/>
                          <a:pt x="4060546" y="1937570"/>
                        </a:cubicBezTo>
                        <a:cubicBezTo>
                          <a:pt x="4054026" y="1930991"/>
                          <a:pt x="4054026" y="1924412"/>
                          <a:pt x="4047507" y="1917832"/>
                        </a:cubicBezTo>
                        <a:cubicBezTo>
                          <a:pt x="4027950" y="1904674"/>
                          <a:pt x="4008392" y="1898095"/>
                          <a:pt x="3995355" y="1884937"/>
                        </a:cubicBezTo>
                        <a:cubicBezTo>
                          <a:pt x="3988835" y="1871779"/>
                          <a:pt x="3982316" y="1865200"/>
                          <a:pt x="3975798" y="1852042"/>
                        </a:cubicBezTo>
                        <a:cubicBezTo>
                          <a:pt x="3969279" y="1838885"/>
                          <a:pt x="3962759" y="1832305"/>
                          <a:pt x="3956240" y="1825726"/>
                        </a:cubicBezTo>
                        <a:cubicBezTo>
                          <a:pt x="3949721" y="1805989"/>
                          <a:pt x="3949721" y="1786252"/>
                          <a:pt x="3969279" y="1786252"/>
                        </a:cubicBezTo>
                        <a:close/>
                        <a:moveTo>
                          <a:pt x="410146" y="1579357"/>
                        </a:moveTo>
                        <a:cubicBezTo>
                          <a:pt x="424264" y="1582970"/>
                          <a:pt x="437263" y="1590915"/>
                          <a:pt x="443292" y="1603081"/>
                        </a:cubicBezTo>
                        <a:cubicBezTo>
                          <a:pt x="449809" y="1616233"/>
                          <a:pt x="443292" y="1642537"/>
                          <a:pt x="430259" y="1649113"/>
                        </a:cubicBezTo>
                        <a:cubicBezTo>
                          <a:pt x="417224" y="1655688"/>
                          <a:pt x="397673" y="1649113"/>
                          <a:pt x="384639" y="1649113"/>
                        </a:cubicBezTo>
                        <a:cubicBezTo>
                          <a:pt x="365088" y="1655688"/>
                          <a:pt x="365088" y="1681992"/>
                          <a:pt x="365088" y="1695144"/>
                        </a:cubicBezTo>
                        <a:cubicBezTo>
                          <a:pt x="365088" y="1721448"/>
                          <a:pt x="384639" y="1741175"/>
                          <a:pt x="404190" y="1754327"/>
                        </a:cubicBezTo>
                        <a:cubicBezTo>
                          <a:pt x="417224" y="1767479"/>
                          <a:pt x="423741" y="1787207"/>
                          <a:pt x="423741" y="1800359"/>
                        </a:cubicBezTo>
                        <a:cubicBezTo>
                          <a:pt x="430258" y="1839814"/>
                          <a:pt x="423741" y="1879269"/>
                          <a:pt x="417224" y="1918724"/>
                        </a:cubicBezTo>
                        <a:cubicBezTo>
                          <a:pt x="417224" y="1938451"/>
                          <a:pt x="417224" y="1958179"/>
                          <a:pt x="417224" y="1977906"/>
                        </a:cubicBezTo>
                        <a:cubicBezTo>
                          <a:pt x="430258" y="2004210"/>
                          <a:pt x="443292" y="2030514"/>
                          <a:pt x="449810" y="2063394"/>
                        </a:cubicBezTo>
                        <a:cubicBezTo>
                          <a:pt x="456326" y="2076545"/>
                          <a:pt x="462843" y="2089697"/>
                          <a:pt x="469360" y="2109425"/>
                        </a:cubicBezTo>
                        <a:cubicBezTo>
                          <a:pt x="475877" y="2122577"/>
                          <a:pt x="482394" y="2142305"/>
                          <a:pt x="488911" y="2155456"/>
                        </a:cubicBezTo>
                        <a:cubicBezTo>
                          <a:pt x="501945" y="2175183"/>
                          <a:pt x="521496" y="2201487"/>
                          <a:pt x="541047" y="2214639"/>
                        </a:cubicBezTo>
                        <a:cubicBezTo>
                          <a:pt x="560598" y="2234367"/>
                          <a:pt x="586666" y="2240943"/>
                          <a:pt x="606217" y="2267247"/>
                        </a:cubicBezTo>
                        <a:cubicBezTo>
                          <a:pt x="612734" y="2280398"/>
                          <a:pt x="619251" y="2300127"/>
                          <a:pt x="625768" y="2313278"/>
                        </a:cubicBezTo>
                        <a:cubicBezTo>
                          <a:pt x="638802" y="2333006"/>
                          <a:pt x="651836" y="2346158"/>
                          <a:pt x="658353" y="2365885"/>
                        </a:cubicBezTo>
                        <a:cubicBezTo>
                          <a:pt x="671387" y="2379037"/>
                          <a:pt x="658353" y="2392188"/>
                          <a:pt x="658353" y="2405339"/>
                        </a:cubicBezTo>
                        <a:cubicBezTo>
                          <a:pt x="651836" y="2425067"/>
                          <a:pt x="677904" y="2438219"/>
                          <a:pt x="684421" y="2444795"/>
                        </a:cubicBezTo>
                        <a:cubicBezTo>
                          <a:pt x="697455" y="2457947"/>
                          <a:pt x="710489" y="2471099"/>
                          <a:pt x="717006" y="2484250"/>
                        </a:cubicBezTo>
                        <a:cubicBezTo>
                          <a:pt x="730040" y="2497403"/>
                          <a:pt x="736557" y="2517130"/>
                          <a:pt x="743074" y="2536858"/>
                        </a:cubicBezTo>
                        <a:cubicBezTo>
                          <a:pt x="743074" y="2543434"/>
                          <a:pt x="749591" y="2556585"/>
                          <a:pt x="762625" y="2556585"/>
                        </a:cubicBezTo>
                        <a:cubicBezTo>
                          <a:pt x="775658" y="2556585"/>
                          <a:pt x="775658" y="2543434"/>
                          <a:pt x="775658" y="2536858"/>
                        </a:cubicBezTo>
                        <a:cubicBezTo>
                          <a:pt x="775658" y="2530282"/>
                          <a:pt x="769142" y="2517130"/>
                          <a:pt x="762625" y="2510554"/>
                        </a:cubicBezTo>
                        <a:cubicBezTo>
                          <a:pt x="756108" y="2503978"/>
                          <a:pt x="749591" y="2490827"/>
                          <a:pt x="743074" y="2477674"/>
                        </a:cubicBezTo>
                        <a:cubicBezTo>
                          <a:pt x="736557" y="2471099"/>
                          <a:pt x="730040" y="2464523"/>
                          <a:pt x="723523" y="2451371"/>
                        </a:cubicBezTo>
                        <a:cubicBezTo>
                          <a:pt x="710489" y="2438219"/>
                          <a:pt x="703972" y="2425067"/>
                          <a:pt x="697455" y="2405339"/>
                        </a:cubicBezTo>
                        <a:cubicBezTo>
                          <a:pt x="690938" y="2385613"/>
                          <a:pt x="677904" y="2372462"/>
                          <a:pt x="677904" y="2352733"/>
                        </a:cubicBezTo>
                        <a:cubicBezTo>
                          <a:pt x="671387" y="2339582"/>
                          <a:pt x="671387" y="2326429"/>
                          <a:pt x="671387" y="2306702"/>
                        </a:cubicBezTo>
                        <a:cubicBezTo>
                          <a:pt x="671387" y="2286974"/>
                          <a:pt x="690938" y="2280398"/>
                          <a:pt x="710489" y="2293551"/>
                        </a:cubicBezTo>
                        <a:cubicBezTo>
                          <a:pt x="723523" y="2306702"/>
                          <a:pt x="730040" y="2326429"/>
                          <a:pt x="736557" y="2339582"/>
                        </a:cubicBezTo>
                        <a:cubicBezTo>
                          <a:pt x="749591" y="2352733"/>
                          <a:pt x="762625" y="2372462"/>
                          <a:pt x="775658" y="2392188"/>
                        </a:cubicBezTo>
                        <a:cubicBezTo>
                          <a:pt x="801727" y="2438219"/>
                          <a:pt x="821278" y="2484250"/>
                          <a:pt x="847346" y="2530282"/>
                        </a:cubicBezTo>
                        <a:cubicBezTo>
                          <a:pt x="853862" y="2536858"/>
                          <a:pt x="866897" y="2550009"/>
                          <a:pt x="873414" y="2556585"/>
                        </a:cubicBezTo>
                        <a:cubicBezTo>
                          <a:pt x="879931" y="2569738"/>
                          <a:pt x="879931" y="2569738"/>
                          <a:pt x="886448" y="2582889"/>
                        </a:cubicBezTo>
                        <a:cubicBezTo>
                          <a:pt x="892964" y="2596041"/>
                          <a:pt x="899482" y="2602616"/>
                          <a:pt x="899482" y="2615769"/>
                        </a:cubicBezTo>
                        <a:cubicBezTo>
                          <a:pt x="905999" y="2635496"/>
                          <a:pt x="899482" y="2655224"/>
                          <a:pt x="899482" y="2674951"/>
                        </a:cubicBezTo>
                        <a:cubicBezTo>
                          <a:pt x="905999" y="2688104"/>
                          <a:pt x="912515" y="2714407"/>
                          <a:pt x="925550" y="2727559"/>
                        </a:cubicBezTo>
                        <a:cubicBezTo>
                          <a:pt x="938584" y="2740711"/>
                          <a:pt x="951617" y="2740711"/>
                          <a:pt x="971168" y="2747287"/>
                        </a:cubicBezTo>
                        <a:cubicBezTo>
                          <a:pt x="977686" y="2753862"/>
                          <a:pt x="984202" y="2767015"/>
                          <a:pt x="997237" y="2767015"/>
                        </a:cubicBezTo>
                        <a:cubicBezTo>
                          <a:pt x="1003753" y="2773591"/>
                          <a:pt x="1016788" y="2767015"/>
                          <a:pt x="1023304" y="2773591"/>
                        </a:cubicBezTo>
                        <a:cubicBezTo>
                          <a:pt x="1029822" y="2780166"/>
                          <a:pt x="1029822" y="2786742"/>
                          <a:pt x="1036339" y="2786742"/>
                        </a:cubicBezTo>
                        <a:cubicBezTo>
                          <a:pt x="1049373" y="2799893"/>
                          <a:pt x="1055890" y="2813046"/>
                          <a:pt x="1075441" y="2819622"/>
                        </a:cubicBezTo>
                        <a:cubicBezTo>
                          <a:pt x="1094992" y="2826197"/>
                          <a:pt x="1127577" y="2826197"/>
                          <a:pt x="1147128" y="2819622"/>
                        </a:cubicBezTo>
                        <a:cubicBezTo>
                          <a:pt x="1166679" y="2813046"/>
                          <a:pt x="1186230" y="2806470"/>
                          <a:pt x="1205781" y="2813046"/>
                        </a:cubicBezTo>
                        <a:cubicBezTo>
                          <a:pt x="1218814" y="2819622"/>
                          <a:pt x="1225332" y="2832773"/>
                          <a:pt x="1238365" y="2839349"/>
                        </a:cubicBezTo>
                        <a:cubicBezTo>
                          <a:pt x="1257916" y="2852501"/>
                          <a:pt x="1264434" y="2878803"/>
                          <a:pt x="1283985" y="2885380"/>
                        </a:cubicBezTo>
                        <a:cubicBezTo>
                          <a:pt x="1290501" y="2891956"/>
                          <a:pt x="1297018" y="2891956"/>
                          <a:pt x="1303536" y="2891956"/>
                        </a:cubicBezTo>
                        <a:cubicBezTo>
                          <a:pt x="1329603" y="2898531"/>
                          <a:pt x="1342637" y="2905107"/>
                          <a:pt x="1355672" y="2918259"/>
                        </a:cubicBezTo>
                        <a:cubicBezTo>
                          <a:pt x="1381739" y="2937987"/>
                          <a:pt x="1375223" y="2977442"/>
                          <a:pt x="1388256" y="2997170"/>
                        </a:cubicBezTo>
                        <a:cubicBezTo>
                          <a:pt x="1401290" y="3010322"/>
                          <a:pt x="1414325" y="3010322"/>
                          <a:pt x="1427358" y="3016898"/>
                        </a:cubicBezTo>
                        <a:cubicBezTo>
                          <a:pt x="1440392" y="3023473"/>
                          <a:pt x="1440392" y="3043202"/>
                          <a:pt x="1459943" y="3049777"/>
                        </a:cubicBezTo>
                        <a:cubicBezTo>
                          <a:pt x="1466770" y="3056665"/>
                          <a:pt x="1478960" y="3058142"/>
                          <a:pt x="1491811" y="3056810"/>
                        </a:cubicBezTo>
                        <a:cubicBezTo>
                          <a:pt x="1426327" y="3270386"/>
                          <a:pt x="1381963" y="3510108"/>
                          <a:pt x="1357836" y="3753401"/>
                        </a:cubicBezTo>
                        <a:cubicBezTo>
                          <a:pt x="1117675" y="3775787"/>
                          <a:pt x="878695" y="3783528"/>
                          <a:pt x="637311" y="3793448"/>
                        </a:cubicBezTo>
                        <a:cubicBezTo>
                          <a:pt x="618234" y="3714625"/>
                          <a:pt x="547078" y="3656345"/>
                          <a:pt x="462310" y="3656345"/>
                        </a:cubicBezTo>
                        <a:cubicBezTo>
                          <a:pt x="419997" y="3656345"/>
                          <a:pt x="381076" y="3670866"/>
                          <a:pt x="351902" y="3696785"/>
                        </a:cubicBezTo>
                        <a:cubicBezTo>
                          <a:pt x="218267" y="3387537"/>
                          <a:pt x="145086" y="3045999"/>
                          <a:pt x="145086" y="2687211"/>
                        </a:cubicBezTo>
                        <a:cubicBezTo>
                          <a:pt x="145086" y="2290103"/>
                          <a:pt x="234735" y="1914126"/>
                          <a:pt x="397422" y="1580084"/>
                        </a:cubicBezTo>
                        <a:cubicBezTo>
                          <a:pt x="401797" y="1577616"/>
                          <a:pt x="406020" y="1578301"/>
                          <a:pt x="410146" y="1579357"/>
                        </a:cubicBezTo>
                        <a:close/>
                        <a:moveTo>
                          <a:pt x="2361829" y="1500921"/>
                        </a:moveTo>
                        <a:cubicBezTo>
                          <a:pt x="2617943" y="1597474"/>
                          <a:pt x="2874306" y="1707071"/>
                          <a:pt x="3120312" y="1825613"/>
                        </a:cubicBezTo>
                        <a:cubicBezTo>
                          <a:pt x="3225381" y="1963374"/>
                          <a:pt x="3319732" y="2097659"/>
                          <a:pt x="3407681" y="2222306"/>
                        </a:cubicBezTo>
                        <a:cubicBezTo>
                          <a:pt x="3382328" y="2248433"/>
                          <a:pt x="3376041" y="2293428"/>
                          <a:pt x="3376041" y="2325733"/>
                        </a:cubicBezTo>
                        <a:cubicBezTo>
                          <a:pt x="3376041" y="2358629"/>
                          <a:pt x="3363002" y="2384945"/>
                          <a:pt x="3343445" y="2404682"/>
                        </a:cubicBezTo>
                        <a:cubicBezTo>
                          <a:pt x="3310850" y="2430998"/>
                          <a:pt x="3284774" y="2437577"/>
                          <a:pt x="3271735" y="2470472"/>
                        </a:cubicBezTo>
                        <a:cubicBezTo>
                          <a:pt x="3258696" y="2496788"/>
                          <a:pt x="3258696" y="2516526"/>
                          <a:pt x="3232620" y="2536263"/>
                        </a:cubicBezTo>
                        <a:cubicBezTo>
                          <a:pt x="3219583" y="2549421"/>
                          <a:pt x="3213063" y="2556000"/>
                          <a:pt x="3206544" y="2569157"/>
                        </a:cubicBezTo>
                        <a:cubicBezTo>
                          <a:pt x="3206544" y="2602053"/>
                          <a:pt x="3186987" y="2621790"/>
                          <a:pt x="3200025" y="2648106"/>
                        </a:cubicBezTo>
                        <a:cubicBezTo>
                          <a:pt x="3213063" y="2661264"/>
                          <a:pt x="3206544" y="2681002"/>
                          <a:pt x="3213063" y="2694160"/>
                        </a:cubicBezTo>
                        <a:cubicBezTo>
                          <a:pt x="3213063" y="2707318"/>
                          <a:pt x="3219583" y="2720475"/>
                          <a:pt x="3219583" y="2740212"/>
                        </a:cubicBezTo>
                        <a:cubicBezTo>
                          <a:pt x="3219583" y="2759951"/>
                          <a:pt x="3206544" y="2773109"/>
                          <a:pt x="3200025" y="2792846"/>
                        </a:cubicBezTo>
                        <a:cubicBezTo>
                          <a:pt x="3193505" y="2812583"/>
                          <a:pt x="3186987" y="2852058"/>
                          <a:pt x="3193505" y="2871794"/>
                        </a:cubicBezTo>
                        <a:cubicBezTo>
                          <a:pt x="3193505" y="2911268"/>
                          <a:pt x="3232620" y="2931006"/>
                          <a:pt x="3245659" y="2957322"/>
                        </a:cubicBezTo>
                        <a:cubicBezTo>
                          <a:pt x="3278254" y="3003375"/>
                          <a:pt x="3291292" y="3095482"/>
                          <a:pt x="3343445" y="3128377"/>
                        </a:cubicBezTo>
                        <a:cubicBezTo>
                          <a:pt x="3382560" y="3148114"/>
                          <a:pt x="3434712" y="3181009"/>
                          <a:pt x="3480346" y="3161271"/>
                        </a:cubicBezTo>
                        <a:cubicBezTo>
                          <a:pt x="3506423" y="3154693"/>
                          <a:pt x="3525979" y="3148114"/>
                          <a:pt x="3558575" y="3148114"/>
                        </a:cubicBezTo>
                        <a:cubicBezTo>
                          <a:pt x="3565094" y="3141535"/>
                          <a:pt x="3578133" y="3141535"/>
                          <a:pt x="3584651" y="3141535"/>
                        </a:cubicBezTo>
                        <a:cubicBezTo>
                          <a:pt x="3591170" y="3141535"/>
                          <a:pt x="3604209" y="3148114"/>
                          <a:pt x="3610728" y="3154693"/>
                        </a:cubicBezTo>
                        <a:cubicBezTo>
                          <a:pt x="3643324" y="3161271"/>
                          <a:pt x="3669400" y="3141535"/>
                          <a:pt x="3695476" y="3134956"/>
                        </a:cubicBezTo>
                        <a:cubicBezTo>
                          <a:pt x="3708515" y="3128377"/>
                          <a:pt x="3728072" y="3128377"/>
                          <a:pt x="3734591" y="3128377"/>
                        </a:cubicBezTo>
                        <a:cubicBezTo>
                          <a:pt x="3754148" y="3128377"/>
                          <a:pt x="3754148" y="3134956"/>
                          <a:pt x="3767186" y="3141535"/>
                        </a:cubicBezTo>
                        <a:cubicBezTo>
                          <a:pt x="3786743" y="3154693"/>
                          <a:pt x="3799782" y="3167850"/>
                          <a:pt x="3819339" y="3174430"/>
                        </a:cubicBezTo>
                        <a:cubicBezTo>
                          <a:pt x="3855486" y="3186590"/>
                          <a:pt x="3870755" y="3211392"/>
                          <a:pt x="3873949" y="3241281"/>
                        </a:cubicBezTo>
                        <a:cubicBezTo>
                          <a:pt x="3461883" y="3377852"/>
                          <a:pt x="3090069" y="3470887"/>
                          <a:pt x="2724694" y="3553798"/>
                        </a:cubicBezTo>
                        <a:lnTo>
                          <a:pt x="2717723" y="3536393"/>
                        </a:lnTo>
                        <a:cubicBezTo>
                          <a:pt x="2711206" y="3523242"/>
                          <a:pt x="2698172" y="3516666"/>
                          <a:pt x="2691655" y="3510090"/>
                        </a:cubicBezTo>
                        <a:cubicBezTo>
                          <a:pt x="2672104" y="3496938"/>
                          <a:pt x="2652553" y="3477210"/>
                          <a:pt x="2633002" y="3464058"/>
                        </a:cubicBezTo>
                        <a:cubicBezTo>
                          <a:pt x="2613451" y="3450906"/>
                          <a:pt x="2593900" y="3444331"/>
                          <a:pt x="2574349" y="3437755"/>
                        </a:cubicBezTo>
                        <a:cubicBezTo>
                          <a:pt x="2561315" y="3437755"/>
                          <a:pt x="2541764" y="3437755"/>
                          <a:pt x="2528730" y="3437755"/>
                        </a:cubicBezTo>
                        <a:cubicBezTo>
                          <a:pt x="2509179" y="3431179"/>
                          <a:pt x="2489628" y="3424602"/>
                          <a:pt x="2476594" y="3404875"/>
                        </a:cubicBezTo>
                        <a:cubicBezTo>
                          <a:pt x="2470077" y="3391724"/>
                          <a:pt x="2463560" y="3391724"/>
                          <a:pt x="2450526" y="3385147"/>
                        </a:cubicBezTo>
                        <a:cubicBezTo>
                          <a:pt x="2437493" y="3378571"/>
                          <a:pt x="2430975" y="3365420"/>
                          <a:pt x="2417942" y="3365420"/>
                        </a:cubicBezTo>
                        <a:cubicBezTo>
                          <a:pt x="2404907" y="3365420"/>
                          <a:pt x="2398391" y="3365420"/>
                          <a:pt x="2385356" y="3365420"/>
                        </a:cubicBezTo>
                        <a:cubicBezTo>
                          <a:pt x="2372322" y="3358844"/>
                          <a:pt x="2365805" y="3345693"/>
                          <a:pt x="2352771" y="3339117"/>
                        </a:cubicBezTo>
                        <a:cubicBezTo>
                          <a:pt x="2333220" y="3325965"/>
                          <a:pt x="2320187" y="3306237"/>
                          <a:pt x="2313669" y="3286510"/>
                        </a:cubicBezTo>
                        <a:cubicBezTo>
                          <a:pt x="2307152" y="3273359"/>
                          <a:pt x="2300636" y="3253630"/>
                          <a:pt x="2294118" y="3240479"/>
                        </a:cubicBezTo>
                        <a:cubicBezTo>
                          <a:pt x="2287601" y="3214175"/>
                          <a:pt x="2274567" y="3168144"/>
                          <a:pt x="2241983" y="3161568"/>
                        </a:cubicBezTo>
                        <a:cubicBezTo>
                          <a:pt x="2228949" y="3154992"/>
                          <a:pt x="2215914" y="3141840"/>
                          <a:pt x="2202881" y="3135264"/>
                        </a:cubicBezTo>
                        <a:cubicBezTo>
                          <a:pt x="2183330" y="3128688"/>
                          <a:pt x="2163778" y="3122113"/>
                          <a:pt x="2144227" y="3115537"/>
                        </a:cubicBezTo>
                        <a:cubicBezTo>
                          <a:pt x="2105125" y="3102384"/>
                          <a:pt x="2066023" y="3069505"/>
                          <a:pt x="2039956" y="3036625"/>
                        </a:cubicBezTo>
                        <a:cubicBezTo>
                          <a:pt x="2033439" y="3023473"/>
                          <a:pt x="2020405" y="3003746"/>
                          <a:pt x="2007370" y="2997170"/>
                        </a:cubicBezTo>
                        <a:cubicBezTo>
                          <a:pt x="1994337" y="2990594"/>
                          <a:pt x="1974786" y="2990594"/>
                          <a:pt x="1955235" y="2984018"/>
                        </a:cubicBezTo>
                        <a:cubicBezTo>
                          <a:pt x="1935684" y="2977442"/>
                          <a:pt x="1909616" y="2977442"/>
                          <a:pt x="1890065" y="2977442"/>
                        </a:cubicBezTo>
                        <a:cubicBezTo>
                          <a:pt x="1870514" y="2977442"/>
                          <a:pt x="1844446" y="2984018"/>
                          <a:pt x="1824895" y="2977442"/>
                        </a:cubicBezTo>
                        <a:cubicBezTo>
                          <a:pt x="1811861" y="2977442"/>
                          <a:pt x="1798827" y="2977442"/>
                          <a:pt x="1785793" y="2977442"/>
                        </a:cubicBezTo>
                        <a:cubicBezTo>
                          <a:pt x="1779307" y="2977442"/>
                          <a:pt x="1772819" y="2983959"/>
                          <a:pt x="1772759" y="2984018"/>
                        </a:cubicBezTo>
                        <a:cubicBezTo>
                          <a:pt x="1772759" y="2990565"/>
                          <a:pt x="1772759" y="2997110"/>
                          <a:pt x="1772759" y="2997170"/>
                        </a:cubicBezTo>
                        <a:lnTo>
                          <a:pt x="1772759" y="2999378"/>
                        </a:lnTo>
                        <a:cubicBezTo>
                          <a:pt x="1748087" y="2950273"/>
                          <a:pt x="1724475" y="2901467"/>
                          <a:pt x="1702560" y="2852555"/>
                        </a:cubicBezTo>
                        <a:cubicBezTo>
                          <a:pt x="1748596" y="2828936"/>
                          <a:pt x="1781151" y="2784418"/>
                          <a:pt x="1790909" y="2731861"/>
                        </a:cubicBezTo>
                        <a:cubicBezTo>
                          <a:pt x="1800866" y="2734739"/>
                          <a:pt x="1811233" y="2737995"/>
                          <a:pt x="1819190" y="2734009"/>
                        </a:cubicBezTo>
                        <a:cubicBezTo>
                          <a:pt x="1832327" y="2727427"/>
                          <a:pt x="1832327" y="2714265"/>
                          <a:pt x="1825758" y="2707683"/>
                        </a:cubicBezTo>
                        <a:cubicBezTo>
                          <a:pt x="1819190" y="2694520"/>
                          <a:pt x="1806051" y="2684647"/>
                          <a:pt x="1792914" y="2681356"/>
                        </a:cubicBezTo>
                        <a:lnTo>
                          <a:pt x="1792619" y="2681363"/>
                        </a:lnTo>
                        <a:cubicBezTo>
                          <a:pt x="1788577" y="2632255"/>
                          <a:pt x="1764691" y="2588846"/>
                          <a:pt x="1728105" y="2560069"/>
                        </a:cubicBezTo>
                        <a:cubicBezTo>
                          <a:pt x="1835327" y="2282920"/>
                          <a:pt x="2009805" y="1984326"/>
                          <a:pt x="2218953" y="1692434"/>
                        </a:cubicBezTo>
                        <a:cubicBezTo>
                          <a:pt x="2222347" y="1692216"/>
                          <a:pt x="2225642" y="1693181"/>
                          <a:pt x="2229144" y="1694355"/>
                        </a:cubicBezTo>
                        <a:cubicBezTo>
                          <a:pt x="2242273" y="1694355"/>
                          <a:pt x="2248838" y="1707556"/>
                          <a:pt x="2261967" y="1707556"/>
                        </a:cubicBezTo>
                        <a:cubicBezTo>
                          <a:pt x="2275096" y="1707556"/>
                          <a:pt x="2288225" y="1707556"/>
                          <a:pt x="2294790" y="1694355"/>
                        </a:cubicBezTo>
                        <a:cubicBezTo>
                          <a:pt x="2301354" y="1674555"/>
                          <a:pt x="2288225" y="1667954"/>
                          <a:pt x="2275096" y="1654754"/>
                        </a:cubicBezTo>
                        <a:lnTo>
                          <a:pt x="2258691" y="1638260"/>
                        </a:lnTo>
                        <a:close/>
                        <a:moveTo>
                          <a:pt x="2113689" y="1410315"/>
                        </a:moveTo>
                        <a:cubicBezTo>
                          <a:pt x="2182975" y="1433311"/>
                          <a:pt x="2252144" y="1458468"/>
                          <a:pt x="2321184" y="1485101"/>
                        </a:cubicBezTo>
                        <a:cubicBezTo>
                          <a:pt x="2289129" y="1525509"/>
                          <a:pt x="2258980" y="1566814"/>
                          <a:pt x="2229636" y="1608083"/>
                        </a:cubicBezTo>
                        <a:cubicBezTo>
                          <a:pt x="2225516" y="1606903"/>
                          <a:pt x="2220973" y="1606891"/>
                          <a:pt x="2216015" y="1608553"/>
                        </a:cubicBezTo>
                        <a:cubicBezTo>
                          <a:pt x="2209450" y="1608553"/>
                          <a:pt x="2209450" y="1615153"/>
                          <a:pt x="2202886" y="1615153"/>
                        </a:cubicBezTo>
                        <a:cubicBezTo>
                          <a:pt x="2196321" y="1615153"/>
                          <a:pt x="2183192" y="1615153"/>
                          <a:pt x="2183192" y="1608553"/>
                        </a:cubicBezTo>
                        <a:cubicBezTo>
                          <a:pt x="2176629" y="1601952"/>
                          <a:pt x="2183192" y="1595352"/>
                          <a:pt x="2183192" y="1582152"/>
                        </a:cubicBezTo>
                        <a:cubicBezTo>
                          <a:pt x="2189757" y="1575551"/>
                          <a:pt x="2189757" y="1562351"/>
                          <a:pt x="2196321" y="1549151"/>
                        </a:cubicBezTo>
                        <a:cubicBezTo>
                          <a:pt x="2196321" y="1542550"/>
                          <a:pt x="2196321" y="1529349"/>
                          <a:pt x="2189757" y="1529349"/>
                        </a:cubicBezTo>
                        <a:cubicBezTo>
                          <a:pt x="2183192" y="1529349"/>
                          <a:pt x="2183192" y="1529349"/>
                          <a:pt x="2176629" y="1529349"/>
                        </a:cubicBezTo>
                        <a:cubicBezTo>
                          <a:pt x="2163500" y="1529349"/>
                          <a:pt x="2163500" y="1555750"/>
                          <a:pt x="2163500" y="1568951"/>
                        </a:cubicBezTo>
                        <a:cubicBezTo>
                          <a:pt x="2156935" y="1601952"/>
                          <a:pt x="2110983" y="1621752"/>
                          <a:pt x="2110983" y="1648154"/>
                        </a:cubicBezTo>
                        <a:cubicBezTo>
                          <a:pt x="2116956" y="1684186"/>
                          <a:pt x="2144667" y="1692897"/>
                          <a:pt x="2169460" y="1692884"/>
                        </a:cubicBezTo>
                        <a:cubicBezTo>
                          <a:pt x="1961170" y="1988840"/>
                          <a:pt x="1796647" y="2279991"/>
                          <a:pt x="1692801" y="2537872"/>
                        </a:cubicBezTo>
                        <a:cubicBezTo>
                          <a:pt x="1669542" y="2523926"/>
                          <a:pt x="1642229" y="2517154"/>
                          <a:pt x="1613334" y="2517154"/>
                        </a:cubicBezTo>
                        <a:lnTo>
                          <a:pt x="1554453" y="2528627"/>
                        </a:lnTo>
                        <a:lnTo>
                          <a:pt x="1534460" y="2483231"/>
                        </a:lnTo>
                        <a:cubicBezTo>
                          <a:pt x="1551181" y="2481709"/>
                          <a:pt x="1551181" y="2455131"/>
                          <a:pt x="1551181" y="2438219"/>
                        </a:cubicBezTo>
                        <a:cubicBezTo>
                          <a:pt x="1544664" y="2411916"/>
                          <a:pt x="1531630" y="2392188"/>
                          <a:pt x="1525113" y="2365885"/>
                        </a:cubicBezTo>
                        <a:cubicBezTo>
                          <a:pt x="1512079" y="2339582"/>
                          <a:pt x="1512079" y="2313278"/>
                          <a:pt x="1525113" y="2286974"/>
                        </a:cubicBezTo>
                        <a:cubicBezTo>
                          <a:pt x="1538147" y="2260671"/>
                          <a:pt x="1564215" y="2240943"/>
                          <a:pt x="1583766" y="2221216"/>
                        </a:cubicBezTo>
                        <a:cubicBezTo>
                          <a:pt x="1596800" y="2201487"/>
                          <a:pt x="1616351" y="2194912"/>
                          <a:pt x="1629385" y="2175183"/>
                        </a:cubicBezTo>
                        <a:cubicBezTo>
                          <a:pt x="1635902" y="2162032"/>
                          <a:pt x="1642419" y="2148881"/>
                          <a:pt x="1642419" y="2135728"/>
                        </a:cubicBezTo>
                        <a:cubicBezTo>
                          <a:pt x="1642419" y="2129152"/>
                          <a:pt x="1635902" y="2122577"/>
                          <a:pt x="1635902" y="2116001"/>
                        </a:cubicBezTo>
                        <a:cubicBezTo>
                          <a:pt x="1635902" y="2102849"/>
                          <a:pt x="1635902" y="2096273"/>
                          <a:pt x="1635902" y="2089697"/>
                        </a:cubicBezTo>
                        <a:cubicBezTo>
                          <a:pt x="1635902" y="2069970"/>
                          <a:pt x="1629385" y="2050241"/>
                          <a:pt x="1635902" y="2030514"/>
                        </a:cubicBezTo>
                        <a:cubicBezTo>
                          <a:pt x="1635902" y="2023939"/>
                          <a:pt x="1648936" y="1997635"/>
                          <a:pt x="1655453" y="2010786"/>
                        </a:cubicBezTo>
                        <a:cubicBezTo>
                          <a:pt x="1661970" y="2017362"/>
                          <a:pt x="1661970" y="2023939"/>
                          <a:pt x="1655453" y="2030514"/>
                        </a:cubicBezTo>
                        <a:cubicBezTo>
                          <a:pt x="1655453" y="2037090"/>
                          <a:pt x="1655453" y="2043666"/>
                          <a:pt x="1661970" y="2050241"/>
                        </a:cubicBezTo>
                        <a:cubicBezTo>
                          <a:pt x="1668487" y="2056817"/>
                          <a:pt x="1681521" y="2063394"/>
                          <a:pt x="1688038" y="2050241"/>
                        </a:cubicBezTo>
                        <a:cubicBezTo>
                          <a:pt x="1688038" y="2043666"/>
                          <a:pt x="1688038" y="2030514"/>
                          <a:pt x="1688038" y="2017362"/>
                        </a:cubicBezTo>
                        <a:cubicBezTo>
                          <a:pt x="1688038" y="2010786"/>
                          <a:pt x="1688038" y="2010786"/>
                          <a:pt x="1688038" y="2004210"/>
                        </a:cubicBezTo>
                        <a:cubicBezTo>
                          <a:pt x="1694555" y="1991059"/>
                          <a:pt x="1707589" y="1984483"/>
                          <a:pt x="1714106" y="1977906"/>
                        </a:cubicBezTo>
                        <a:cubicBezTo>
                          <a:pt x="1714106" y="1971331"/>
                          <a:pt x="1714106" y="1964755"/>
                          <a:pt x="1720624" y="1958179"/>
                        </a:cubicBezTo>
                        <a:cubicBezTo>
                          <a:pt x="1720624" y="1951603"/>
                          <a:pt x="1727140" y="1945028"/>
                          <a:pt x="1733657" y="1938451"/>
                        </a:cubicBezTo>
                        <a:cubicBezTo>
                          <a:pt x="1753208" y="1912148"/>
                          <a:pt x="1772759" y="1885845"/>
                          <a:pt x="1792310" y="1859541"/>
                        </a:cubicBezTo>
                        <a:cubicBezTo>
                          <a:pt x="1805344" y="1846390"/>
                          <a:pt x="1837929" y="1820086"/>
                          <a:pt x="1857480" y="1820086"/>
                        </a:cubicBezTo>
                        <a:cubicBezTo>
                          <a:pt x="1870514" y="1813510"/>
                          <a:pt x="1883548" y="1820086"/>
                          <a:pt x="1890065" y="1806934"/>
                        </a:cubicBezTo>
                        <a:cubicBezTo>
                          <a:pt x="1896582" y="1793783"/>
                          <a:pt x="1890065" y="1793783"/>
                          <a:pt x="1903099" y="1787207"/>
                        </a:cubicBezTo>
                        <a:cubicBezTo>
                          <a:pt x="1909616" y="1780630"/>
                          <a:pt x="1948717" y="1767479"/>
                          <a:pt x="1948717" y="1787207"/>
                        </a:cubicBezTo>
                        <a:cubicBezTo>
                          <a:pt x="1942201" y="1793783"/>
                          <a:pt x="1935684" y="1800359"/>
                          <a:pt x="1929166" y="1806934"/>
                        </a:cubicBezTo>
                        <a:cubicBezTo>
                          <a:pt x="1922650" y="1813510"/>
                          <a:pt x="1916133" y="1820086"/>
                          <a:pt x="1922650" y="1833238"/>
                        </a:cubicBezTo>
                        <a:cubicBezTo>
                          <a:pt x="1929166" y="1839814"/>
                          <a:pt x="1942201" y="1846390"/>
                          <a:pt x="1955235" y="1846390"/>
                        </a:cubicBezTo>
                        <a:cubicBezTo>
                          <a:pt x="1968268" y="1846390"/>
                          <a:pt x="1974786" y="1839814"/>
                          <a:pt x="1987819" y="1826663"/>
                        </a:cubicBezTo>
                        <a:cubicBezTo>
                          <a:pt x="1994337" y="1820086"/>
                          <a:pt x="1994337" y="1806934"/>
                          <a:pt x="2007370" y="1800359"/>
                        </a:cubicBezTo>
                        <a:cubicBezTo>
                          <a:pt x="2013888" y="1800359"/>
                          <a:pt x="2033439" y="1787207"/>
                          <a:pt x="2039956" y="1780630"/>
                        </a:cubicBezTo>
                        <a:cubicBezTo>
                          <a:pt x="2052990" y="1760903"/>
                          <a:pt x="1994342" y="1767479"/>
                          <a:pt x="1987819" y="1767479"/>
                        </a:cubicBezTo>
                        <a:cubicBezTo>
                          <a:pt x="1974786" y="1760903"/>
                          <a:pt x="1955235" y="1741175"/>
                          <a:pt x="1955235" y="1728023"/>
                        </a:cubicBezTo>
                        <a:cubicBezTo>
                          <a:pt x="1948717" y="1708296"/>
                          <a:pt x="1955235" y="1695144"/>
                          <a:pt x="1942201" y="1688568"/>
                        </a:cubicBezTo>
                        <a:cubicBezTo>
                          <a:pt x="1935684" y="1681992"/>
                          <a:pt x="1929166" y="1681992"/>
                          <a:pt x="1922650" y="1675417"/>
                        </a:cubicBezTo>
                        <a:cubicBezTo>
                          <a:pt x="1919391" y="1672129"/>
                          <a:pt x="1917762" y="1668841"/>
                          <a:pt x="1918577" y="1666374"/>
                        </a:cubicBezTo>
                        <a:lnTo>
                          <a:pt x="1929166" y="1662264"/>
                        </a:lnTo>
                        <a:cubicBezTo>
                          <a:pt x="1935684" y="1655688"/>
                          <a:pt x="1942201" y="1662264"/>
                          <a:pt x="1948717" y="1655688"/>
                        </a:cubicBezTo>
                        <a:cubicBezTo>
                          <a:pt x="1955235" y="1649113"/>
                          <a:pt x="1961752" y="1642537"/>
                          <a:pt x="1955235" y="1629384"/>
                        </a:cubicBezTo>
                        <a:cubicBezTo>
                          <a:pt x="1948717" y="1609657"/>
                          <a:pt x="1929166" y="1609657"/>
                          <a:pt x="1909616" y="1616233"/>
                        </a:cubicBezTo>
                        <a:cubicBezTo>
                          <a:pt x="1909549" y="1616273"/>
                          <a:pt x="1896571" y="1622809"/>
                          <a:pt x="1890065" y="1622809"/>
                        </a:cubicBezTo>
                        <a:cubicBezTo>
                          <a:pt x="1877031" y="1629384"/>
                          <a:pt x="1857480" y="1642537"/>
                          <a:pt x="1844446" y="1655688"/>
                        </a:cubicBezTo>
                        <a:cubicBezTo>
                          <a:pt x="1844446" y="1662264"/>
                          <a:pt x="1837929" y="1668841"/>
                          <a:pt x="1831412" y="1668841"/>
                        </a:cubicBezTo>
                        <a:cubicBezTo>
                          <a:pt x="1824895" y="1662264"/>
                          <a:pt x="1831412" y="1649113"/>
                          <a:pt x="1837929" y="1642537"/>
                        </a:cubicBezTo>
                        <a:cubicBezTo>
                          <a:pt x="1844446" y="1635961"/>
                          <a:pt x="1850963" y="1622809"/>
                          <a:pt x="1857480" y="1616233"/>
                        </a:cubicBezTo>
                        <a:cubicBezTo>
                          <a:pt x="1877031" y="1596506"/>
                          <a:pt x="1896582" y="1583353"/>
                          <a:pt x="1916133" y="1583353"/>
                        </a:cubicBezTo>
                        <a:cubicBezTo>
                          <a:pt x="1929166" y="1576777"/>
                          <a:pt x="1935684" y="1576777"/>
                          <a:pt x="1942201" y="1576777"/>
                        </a:cubicBezTo>
                        <a:cubicBezTo>
                          <a:pt x="1968268" y="1576777"/>
                          <a:pt x="1987819" y="1583353"/>
                          <a:pt x="2007370" y="1576777"/>
                        </a:cubicBezTo>
                        <a:cubicBezTo>
                          <a:pt x="2026921" y="1576777"/>
                          <a:pt x="2046472" y="1583353"/>
                          <a:pt x="2059507" y="1576777"/>
                        </a:cubicBezTo>
                        <a:cubicBezTo>
                          <a:pt x="2066023" y="1576777"/>
                          <a:pt x="2072541" y="1570202"/>
                          <a:pt x="2079058" y="1570202"/>
                        </a:cubicBezTo>
                        <a:cubicBezTo>
                          <a:pt x="2092092" y="1563626"/>
                          <a:pt x="2098608" y="1557050"/>
                          <a:pt x="2105125" y="1550473"/>
                        </a:cubicBezTo>
                        <a:cubicBezTo>
                          <a:pt x="2118159" y="1543898"/>
                          <a:pt x="2111643" y="1530746"/>
                          <a:pt x="2118159" y="1524170"/>
                        </a:cubicBezTo>
                        <a:cubicBezTo>
                          <a:pt x="2137710" y="1497866"/>
                          <a:pt x="2170296" y="1530746"/>
                          <a:pt x="2189847" y="1511018"/>
                        </a:cubicBezTo>
                        <a:cubicBezTo>
                          <a:pt x="2202881" y="1504442"/>
                          <a:pt x="2209398" y="1484715"/>
                          <a:pt x="2209398" y="1471563"/>
                        </a:cubicBezTo>
                        <a:cubicBezTo>
                          <a:pt x="2202881" y="1458411"/>
                          <a:pt x="2196363" y="1458411"/>
                          <a:pt x="2189847" y="1451835"/>
                        </a:cubicBezTo>
                        <a:cubicBezTo>
                          <a:pt x="2176812" y="1451835"/>
                          <a:pt x="2176812" y="1445260"/>
                          <a:pt x="2163778" y="1445260"/>
                        </a:cubicBezTo>
                        <a:cubicBezTo>
                          <a:pt x="2157261" y="1445260"/>
                          <a:pt x="2150745" y="1451835"/>
                          <a:pt x="2144227" y="1451835"/>
                        </a:cubicBezTo>
                        <a:cubicBezTo>
                          <a:pt x="2124676" y="1464987"/>
                          <a:pt x="2111643" y="1471563"/>
                          <a:pt x="2098608" y="1471563"/>
                        </a:cubicBezTo>
                        <a:cubicBezTo>
                          <a:pt x="2085574" y="1471563"/>
                          <a:pt x="2072541" y="1458411"/>
                          <a:pt x="2079058" y="1445260"/>
                        </a:cubicBezTo>
                        <a:cubicBezTo>
                          <a:pt x="2079058" y="1432107"/>
                          <a:pt x="2098608" y="1432107"/>
                          <a:pt x="2105125" y="1418956"/>
                        </a:cubicBezTo>
                        <a:close/>
                        <a:moveTo>
                          <a:pt x="3448170" y="1384560"/>
                        </a:moveTo>
                        <a:cubicBezTo>
                          <a:pt x="3441579" y="1384560"/>
                          <a:pt x="3434988" y="1391217"/>
                          <a:pt x="3428397" y="1397877"/>
                        </a:cubicBezTo>
                        <a:cubicBezTo>
                          <a:pt x="3421807" y="1404535"/>
                          <a:pt x="3415216" y="1411193"/>
                          <a:pt x="3408625" y="1411193"/>
                        </a:cubicBezTo>
                        <a:cubicBezTo>
                          <a:pt x="3402034" y="1417852"/>
                          <a:pt x="3395444" y="1411193"/>
                          <a:pt x="3388852" y="1417852"/>
                        </a:cubicBezTo>
                        <a:cubicBezTo>
                          <a:pt x="3388852" y="1424511"/>
                          <a:pt x="3395444" y="1424511"/>
                          <a:pt x="3395444" y="1431168"/>
                        </a:cubicBezTo>
                        <a:cubicBezTo>
                          <a:pt x="3395444" y="1444486"/>
                          <a:pt x="3375670" y="1437826"/>
                          <a:pt x="3382261" y="1451143"/>
                        </a:cubicBezTo>
                        <a:cubicBezTo>
                          <a:pt x="3382261" y="1457802"/>
                          <a:pt x="3388852" y="1457802"/>
                          <a:pt x="3395444" y="1464461"/>
                        </a:cubicBezTo>
                        <a:cubicBezTo>
                          <a:pt x="3395444" y="1464562"/>
                          <a:pt x="3395444" y="1477800"/>
                          <a:pt x="3395444" y="1484437"/>
                        </a:cubicBezTo>
                        <a:cubicBezTo>
                          <a:pt x="3395444" y="1491095"/>
                          <a:pt x="3395444" y="1497753"/>
                          <a:pt x="3388852" y="1497753"/>
                        </a:cubicBezTo>
                        <a:cubicBezTo>
                          <a:pt x="3382314" y="1504359"/>
                          <a:pt x="3375774" y="1504412"/>
                          <a:pt x="3375670" y="1504412"/>
                        </a:cubicBezTo>
                        <a:cubicBezTo>
                          <a:pt x="3375670" y="1511071"/>
                          <a:pt x="3375670" y="1517728"/>
                          <a:pt x="3369079" y="1524387"/>
                        </a:cubicBezTo>
                        <a:lnTo>
                          <a:pt x="3369904" y="1530213"/>
                        </a:lnTo>
                        <a:cubicBezTo>
                          <a:pt x="3370728" y="1531046"/>
                          <a:pt x="3372375" y="1531046"/>
                          <a:pt x="3375670" y="1531046"/>
                        </a:cubicBezTo>
                        <a:lnTo>
                          <a:pt x="3378966" y="1536039"/>
                        </a:lnTo>
                        <a:lnTo>
                          <a:pt x="3382261" y="1531046"/>
                        </a:lnTo>
                        <a:cubicBezTo>
                          <a:pt x="3388852" y="1531046"/>
                          <a:pt x="3388852" y="1531046"/>
                          <a:pt x="3395444" y="1531046"/>
                        </a:cubicBezTo>
                        <a:cubicBezTo>
                          <a:pt x="3402034" y="1531046"/>
                          <a:pt x="3408625" y="1537703"/>
                          <a:pt x="3415216" y="1537703"/>
                        </a:cubicBezTo>
                        <a:cubicBezTo>
                          <a:pt x="3421807" y="1537703"/>
                          <a:pt x="3421807" y="1531046"/>
                          <a:pt x="3428397" y="1524387"/>
                        </a:cubicBezTo>
                        <a:cubicBezTo>
                          <a:pt x="3434988" y="1524387"/>
                          <a:pt x="3434988" y="1517728"/>
                          <a:pt x="3441579" y="1517728"/>
                        </a:cubicBezTo>
                        <a:cubicBezTo>
                          <a:pt x="3448170" y="1511071"/>
                          <a:pt x="3448170" y="1511071"/>
                          <a:pt x="3454762" y="1511071"/>
                        </a:cubicBezTo>
                        <a:cubicBezTo>
                          <a:pt x="3461292" y="1511071"/>
                          <a:pt x="3461352" y="1504532"/>
                          <a:pt x="3461352" y="1504412"/>
                        </a:cubicBezTo>
                        <a:cubicBezTo>
                          <a:pt x="3467943" y="1497753"/>
                          <a:pt x="3467943" y="1491095"/>
                          <a:pt x="3474534" y="1491095"/>
                        </a:cubicBezTo>
                        <a:cubicBezTo>
                          <a:pt x="3474534" y="1477777"/>
                          <a:pt x="3467943" y="1471120"/>
                          <a:pt x="3467943" y="1457803"/>
                        </a:cubicBezTo>
                        <a:cubicBezTo>
                          <a:pt x="3467943" y="1457768"/>
                          <a:pt x="3467943" y="1451190"/>
                          <a:pt x="3467943" y="1451143"/>
                        </a:cubicBezTo>
                        <a:cubicBezTo>
                          <a:pt x="3467943" y="1444548"/>
                          <a:pt x="3467943" y="1437954"/>
                          <a:pt x="3467943" y="1437826"/>
                        </a:cubicBezTo>
                        <a:cubicBezTo>
                          <a:pt x="3467943" y="1431168"/>
                          <a:pt x="3481125" y="1431168"/>
                          <a:pt x="3481125" y="1424511"/>
                        </a:cubicBezTo>
                        <a:cubicBezTo>
                          <a:pt x="3487715" y="1417852"/>
                          <a:pt x="3481125" y="1397880"/>
                          <a:pt x="3474534" y="1391217"/>
                        </a:cubicBezTo>
                        <a:cubicBezTo>
                          <a:pt x="3474534" y="1384560"/>
                          <a:pt x="3467943" y="1391217"/>
                          <a:pt x="3461352" y="1391217"/>
                        </a:cubicBezTo>
                        <a:cubicBezTo>
                          <a:pt x="3454762" y="1391217"/>
                          <a:pt x="3454762" y="1384560"/>
                          <a:pt x="3448170" y="1384560"/>
                        </a:cubicBezTo>
                        <a:close/>
                        <a:moveTo>
                          <a:pt x="3951501" y="1350565"/>
                        </a:moveTo>
                        <a:cubicBezTo>
                          <a:pt x="3940327" y="1346911"/>
                          <a:pt x="3929153" y="1357874"/>
                          <a:pt x="3929153" y="1372494"/>
                        </a:cubicBezTo>
                        <a:cubicBezTo>
                          <a:pt x="3929153" y="1385487"/>
                          <a:pt x="3935775" y="1398482"/>
                          <a:pt x="3949018" y="1391985"/>
                        </a:cubicBezTo>
                        <a:cubicBezTo>
                          <a:pt x="3962260" y="1391985"/>
                          <a:pt x="3962260" y="1372494"/>
                          <a:pt x="3962260" y="1359499"/>
                        </a:cubicBezTo>
                        <a:cubicBezTo>
                          <a:pt x="3958950" y="1354626"/>
                          <a:pt x="3955226" y="1351784"/>
                          <a:pt x="3951501" y="1350565"/>
                        </a:cubicBezTo>
                        <a:close/>
                        <a:moveTo>
                          <a:pt x="3538712" y="1228629"/>
                        </a:moveTo>
                        <a:cubicBezTo>
                          <a:pt x="3532126" y="1235193"/>
                          <a:pt x="3525540" y="1235193"/>
                          <a:pt x="3518953" y="1235193"/>
                        </a:cubicBezTo>
                        <a:cubicBezTo>
                          <a:pt x="3512368" y="1235193"/>
                          <a:pt x="3512368" y="1241756"/>
                          <a:pt x="3512368" y="1248320"/>
                        </a:cubicBezTo>
                        <a:cubicBezTo>
                          <a:pt x="3512368" y="1254883"/>
                          <a:pt x="3505781" y="1248320"/>
                          <a:pt x="3505781" y="1254883"/>
                        </a:cubicBezTo>
                        <a:cubicBezTo>
                          <a:pt x="3499196" y="1261446"/>
                          <a:pt x="3505781" y="1261446"/>
                          <a:pt x="3505781" y="1268009"/>
                        </a:cubicBezTo>
                        <a:cubicBezTo>
                          <a:pt x="3499247" y="1274523"/>
                          <a:pt x="3492713" y="1274572"/>
                          <a:pt x="3492610" y="1274572"/>
                        </a:cubicBezTo>
                        <a:cubicBezTo>
                          <a:pt x="3486024" y="1281136"/>
                          <a:pt x="3492610" y="1287700"/>
                          <a:pt x="3492610" y="1294263"/>
                        </a:cubicBezTo>
                        <a:cubicBezTo>
                          <a:pt x="3505781" y="1294263"/>
                          <a:pt x="3492610" y="1307391"/>
                          <a:pt x="3486024" y="1313952"/>
                        </a:cubicBezTo>
                        <a:cubicBezTo>
                          <a:pt x="3486024" y="1320516"/>
                          <a:pt x="3492610" y="1320516"/>
                          <a:pt x="3492610" y="1327079"/>
                        </a:cubicBezTo>
                        <a:cubicBezTo>
                          <a:pt x="3492610" y="1333643"/>
                          <a:pt x="3492610" y="1333643"/>
                          <a:pt x="3492610" y="1340207"/>
                        </a:cubicBezTo>
                        <a:cubicBezTo>
                          <a:pt x="3492610" y="1346732"/>
                          <a:pt x="3499119" y="1346770"/>
                          <a:pt x="3499196" y="1346770"/>
                        </a:cubicBezTo>
                        <a:cubicBezTo>
                          <a:pt x="3505781" y="1353334"/>
                          <a:pt x="3512368" y="1353334"/>
                          <a:pt x="3512368" y="1359898"/>
                        </a:cubicBezTo>
                        <a:cubicBezTo>
                          <a:pt x="3512342" y="1359923"/>
                          <a:pt x="3505795" y="1366473"/>
                          <a:pt x="3512368" y="1373023"/>
                        </a:cubicBezTo>
                        <a:cubicBezTo>
                          <a:pt x="3512368" y="1379586"/>
                          <a:pt x="3518953" y="1386150"/>
                          <a:pt x="3525540" y="1386150"/>
                        </a:cubicBezTo>
                        <a:cubicBezTo>
                          <a:pt x="3532126" y="1386150"/>
                          <a:pt x="3545298" y="1386150"/>
                          <a:pt x="3551884" y="1392714"/>
                        </a:cubicBezTo>
                        <a:cubicBezTo>
                          <a:pt x="3558470" y="1399277"/>
                          <a:pt x="3532126" y="1412405"/>
                          <a:pt x="3545298" y="1418967"/>
                        </a:cubicBezTo>
                        <a:cubicBezTo>
                          <a:pt x="3551884" y="1418967"/>
                          <a:pt x="3558470" y="1412405"/>
                          <a:pt x="3565055" y="1418967"/>
                        </a:cubicBezTo>
                        <a:cubicBezTo>
                          <a:pt x="3571642" y="1445221"/>
                          <a:pt x="3532126" y="1438657"/>
                          <a:pt x="3525540" y="1451784"/>
                        </a:cubicBezTo>
                        <a:cubicBezTo>
                          <a:pt x="3518953" y="1458348"/>
                          <a:pt x="3525540" y="1458348"/>
                          <a:pt x="3525540" y="1464912"/>
                        </a:cubicBezTo>
                        <a:cubicBezTo>
                          <a:pt x="3525540" y="1471474"/>
                          <a:pt x="3518953" y="1471474"/>
                          <a:pt x="3518953" y="1484601"/>
                        </a:cubicBezTo>
                        <a:cubicBezTo>
                          <a:pt x="3518953" y="1491164"/>
                          <a:pt x="3525540" y="1491164"/>
                          <a:pt x="3518953" y="1497728"/>
                        </a:cubicBezTo>
                        <a:cubicBezTo>
                          <a:pt x="3518953" y="1504291"/>
                          <a:pt x="3512368" y="1504291"/>
                          <a:pt x="3505781" y="1510855"/>
                        </a:cubicBezTo>
                        <a:cubicBezTo>
                          <a:pt x="3499196" y="1517419"/>
                          <a:pt x="3512368" y="1523981"/>
                          <a:pt x="3518953" y="1523981"/>
                        </a:cubicBezTo>
                        <a:cubicBezTo>
                          <a:pt x="3525540" y="1523981"/>
                          <a:pt x="3525540" y="1530544"/>
                          <a:pt x="3532126" y="1530544"/>
                        </a:cubicBezTo>
                        <a:cubicBezTo>
                          <a:pt x="3538712" y="1530544"/>
                          <a:pt x="3545298" y="1530544"/>
                          <a:pt x="3558470" y="1530544"/>
                        </a:cubicBezTo>
                        <a:cubicBezTo>
                          <a:pt x="3558504" y="1530578"/>
                          <a:pt x="3564964" y="1537017"/>
                          <a:pt x="3565055" y="1537108"/>
                        </a:cubicBezTo>
                        <a:cubicBezTo>
                          <a:pt x="3551884" y="1543671"/>
                          <a:pt x="3545298" y="1543671"/>
                          <a:pt x="3532126" y="1543671"/>
                        </a:cubicBezTo>
                        <a:cubicBezTo>
                          <a:pt x="3525540" y="1543671"/>
                          <a:pt x="3518953" y="1543671"/>
                          <a:pt x="3512368" y="1550235"/>
                        </a:cubicBezTo>
                        <a:cubicBezTo>
                          <a:pt x="3512368" y="1556798"/>
                          <a:pt x="3505781" y="1563362"/>
                          <a:pt x="3499196" y="1569926"/>
                        </a:cubicBezTo>
                        <a:cubicBezTo>
                          <a:pt x="3492610" y="1576488"/>
                          <a:pt x="3486024" y="1576488"/>
                          <a:pt x="3479438" y="1583052"/>
                        </a:cubicBezTo>
                        <a:cubicBezTo>
                          <a:pt x="3479438" y="1589615"/>
                          <a:pt x="3479438" y="1596178"/>
                          <a:pt x="3486024" y="1596178"/>
                        </a:cubicBezTo>
                        <a:cubicBezTo>
                          <a:pt x="3499196" y="1596178"/>
                          <a:pt x="3499196" y="1589615"/>
                          <a:pt x="3505781" y="1583052"/>
                        </a:cubicBezTo>
                        <a:cubicBezTo>
                          <a:pt x="3512368" y="1583052"/>
                          <a:pt x="3518953" y="1576488"/>
                          <a:pt x="3532126" y="1576488"/>
                        </a:cubicBezTo>
                        <a:cubicBezTo>
                          <a:pt x="3538712" y="1576488"/>
                          <a:pt x="3545298" y="1576488"/>
                          <a:pt x="3551884" y="1569926"/>
                        </a:cubicBezTo>
                        <a:cubicBezTo>
                          <a:pt x="3558470" y="1563362"/>
                          <a:pt x="3565055" y="1569926"/>
                          <a:pt x="3571642" y="1569926"/>
                        </a:cubicBezTo>
                        <a:cubicBezTo>
                          <a:pt x="3584814" y="1569926"/>
                          <a:pt x="3591399" y="1563362"/>
                          <a:pt x="3597986" y="1556798"/>
                        </a:cubicBezTo>
                        <a:cubicBezTo>
                          <a:pt x="3611157" y="1556798"/>
                          <a:pt x="3617744" y="1563362"/>
                          <a:pt x="3624329" y="1563362"/>
                        </a:cubicBezTo>
                        <a:cubicBezTo>
                          <a:pt x="3630916" y="1563362"/>
                          <a:pt x="3644088" y="1563362"/>
                          <a:pt x="3650673" y="1563362"/>
                        </a:cubicBezTo>
                        <a:cubicBezTo>
                          <a:pt x="3657260" y="1563362"/>
                          <a:pt x="3670431" y="1556798"/>
                          <a:pt x="3670431" y="1550235"/>
                        </a:cubicBezTo>
                        <a:cubicBezTo>
                          <a:pt x="3677018" y="1550235"/>
                          <a:pt x="3677018" y="1537108"/>
                          <a:pt x="3670431" y="1537108"/>
                        </a:cubicBezTo>
                        <a:cubicBezTo>
                          <a:pt x="3670329" y="1537108"/>
                          <a:pt x="3663797" y="1537058"/>
                          <a:pt x="3657260" y="1530544"/>
                        </a:cubicBezTo>
                        <a:cubicBezTo>
                          <a:pt x="3650707" y="1530544"/>
                          <a:pt x="3663715" y="1517550"/>
                          <a:pt x="3663846" y="1517419"/>
                        </a:cubicBezTo>
                        <a:cubicBezTo>
                          <a:pt x="3670431" y="1517419"/>
                          <a:pt x="3677018" y="1517419"/>
                          <a:pt x="3677018" y="1510855"/>
                        </a:cubicBezTo>
                        <a:cubicBezTo>
                          <a:pt x="3683603" y="1510855"/>
                          <a:pt x="3683603" y="1504291"/>
                          <a:pt x="3683603" y="1497728"/>
                        </a:cubicBezTo>
                        <a:cubicBezTo>
                          <a:pt x="3683603" y="1484600"/>
                          <a:pt x="3683603" y="1471474"/>
                          <a:pt x="3663846" y="1471474"/>
                        </a:cubicBezTo>
                        <a:cubicBezTo>
                          <a:pt x="3657260" y="1471474"/>
                          <a:pt x="3650673" y="1478037"/>
                          <a:pt x="3644088" y="1464912"/>
                        </a:cubicBezTo>
                        <a:cubicBezTo>
                          <a:pt x="3644088" y="1464808"/>
                          <a:pt x="3644088" y="1458467"/>
                          <a:pt x="3644088" y="1458348"/>
                        </a:cubicBezTo>
                        <a:cubicBezTo>
                          <a:pt x="3644088" y="1451784"/>
                          <a:pt x="3644088" y="1451784"/>
                          <a:pt x="3644088" y="1445221"/>
                        </a:cubicBezTo>
                        <a:cubicBezTo>
                          <a:pt x="3650673" y="1438657"/>
                          <a:pt x="3637501" y="1438657"/>
                          <a:pt x="3630916" y="1432093"/>
                        </a:cubicBezTo>
                        <a:cubicBezTo>
                          <a:pt x="3630916" y="1425530"/>
                          <a:pt x="3624329" y="1425530"/>
                          <a:pt x="3624329" y="1418967"/>
                        </a:cubicBezTo>
                        <a:cubicBezTo>
                          <a:pt x="3624329" y="1415686"/>
                          <a:pt x="3624329" y="1414045"/>
                          <a:pt x="3623506" y="1413224"/>
                        </a:cubicBezTo>
                        <a:lnTo>
                          <a:pt x="3617744" y="1412405"/>
                        </a:lnTo>
                        <a:cubicBezTo>
                          <a:pt x="3617744" y="1412327"/>
                          <a:pt x="3617702" y="1405841"/>
                          <a:pt x="3611157" y="1405841"/>
                        </a:cubicBezTo>
                        <a:cubicBezTo>
                          <a:pt x="3604572" y="1399277"/>
                          <a:pt x="3604572" y="1392714"/>
                          <a:pt x="3597986" y="1386150"/>
                        </a:cubicBezTo>
                        <a:cubicBezTo>
                          <a:pt x="3597986" y="1379586"/>
                          <a:pt x="3591399" y="1373023"/>
                          <a:pt x="3584814" y="1373023"/>
                        </a:cubicBezTo>
                        <a:cubicBezTo>
                          <a:pt x="3584814" y="1366459"/>
                          <a:pt x="3584814" y="1359898"/>
                          <a:pt x="3578227" y="1359898"/>
                        </a:cubicBezTo>
                        <a:cubicBezTo>
                          <a:pt x="3578227" y="1353334"/>
                          <a:pt x="3571642" y="1353334"/>
                          <a:pt x="3565055" y="1346770"/>
                        </a:cubicBezTo>
                        <a:cubicBezTo>
                          <a:pt x="3565055" y="1340207"/>
                          <a:pt x="3565055" y="1340207"/>
                          <a:pt x="3571642" y="1333643"/>
                        </a:cubicBezTo>
                        <a:cubicBezTo>
                          <a:pt x="3571642" y="1327079"/>
                          <a:pt x="3571642" y="1327079"/>
                          <a:pt x="3571642" y="1320516"/>
                        </a:cubicBezTo>
                        <a:cubicBezTo>
                          <a:pt x="3571642" y="1313952"/>
                          <a:pt x="3578227" y="1313952"/>
                          <a:pt x="3584814" y="1307391"/>
                        </a:cubicBezTo>
                        <a:cubicBezTo>
                          <a:pt x="3584870" y="1307336"/>
                          <a:pt x="3591399" y="1300809"/>
                          <a:pt x="3591399" y="1294263"/>
                        </a:cubicBezTo>
                        <a:cubicBezTo>
                          <a:pt x="3597986" y="1287700"/>
                          <a:pt x="3597986" y="1274573"/>
                          <a:pt x="3591399" y="1268009"/>
                        </a:cubicBezTo>
                        <a:cubicBezTo>
                          <a:pt x="3584814" y="1268009"/>
                          <a:pt x="3584814" y="1268009"/>
                          <a:pt x="3578227" y="1268009"/>
                        </a:cubicBezTo>
                        <a:cubicBezTo>
                          <a:pt x="3571642" y="1261446"/>
                          <a:pt x="3545298" y="1268009"/>
                          <a:pt x="3551884" y="1254883"/>
                        </a:cubicBezTo>
                        <a:cubicBezTo>
                          <a:pt x="3551884" y="1248341"/>
                          <a:pt x="3551884" y="1241799"/>
                          <a:pt x="3551884" y="1241756"/>
                        </a:cubicBezTo>
                        <a:cubicBezTo>
                          <a:pt x="3551884" y="1228629"/>
                          <a:pt x="3545298" y="1228629"/>
                          <a:pt x="3538712" y="1228629"/>
                        </a:cubicBezTo>
                        <a:close/>
                        <a:moveTo>
                          <a:pt x="2595194" y="1209200"/>
                        </a:moveTo>
                        <a:cubicBezTo>
                          <a:pt x="2774956" y="1389398"/>
                          <a:pt x="2930603" y="1575575"/>
                          <a:pt x="3068765" y="1756467"/>
                        </a:cubicBezTo>
                        <a:cubicBezTo>
                          <a:pt x="2842338" y="1649459"/>
                          <a:pt x="2611999" y="1553477"/>
                          <a:pt x="2385578" y="1469296"/>
                        </a:cubicBezTo>
                        <a:cubicBezTo>
                          <a:pt x="2452642" y="1380508"/>
                          <a:pt x="2523049" y="1293710"/>
                          <a:pt x="2595194" y="1209200"/>
                        </a:cubicBezTo>
                        <a:close/>
                        <a:moveTo>
                          <a:pt x="1181641" y="1140853"/>
                        </a:moveTo>
                        <a:cubicBezTo>
                          <a:pt x="1320700" y="1170169"/>
                          <a:pt x="1466250" y="1207103"/>
                          <a:pt x="1615702" y="1251029"/>
                        </a:cubicBezTo>
                        <a:cubicBezTo>
                          <a:pt x="1617687" y="1255287"/>
                          <a:pt x="1619302" y="1260515"/>
                          <a:pt x="1622868" y="1267711"/>
                        </a:cubicBezTo>
                        <a:cubicBezTo>
                          <a:pt x="1622868" y="1274286"/>
                          <a:pt x="1629385" y="1287439"/>
                          <a:pt x="1635902" y="1300590"/>
                        </a:cubicBezTo>
                        <a:cubicBezTo>
                          <a:pt x="1635902" y="1307166"/>
                          <a:pt x="1642419" y="1326894"/>
                          <a:pt x="1635902" y="1340046"/>
                        </a:cubicBezTo>
                        <a:cubicBezTo>
                          <a:pt x="1635902" y="1353197"/>
                          <a:pt x="1622868" y="1366350"/>
                          <a:pt x="1616351" y="1372926"/>
                        </a:cubicBezTo>
                        <a:cubicBezTo>
                          <a:pt x="1603317" y="1379501"/>
                          <a:pt x="1590283" y="1386077"/>
                          <a:pt x="1583766" y="1399228"/>
                        </a:cubicBezTo>
                        <a:cubicBezTo>
                          <a:pt x="1570732" y="1412380"/>
                          <a:pt x="1577249" y="1432107"/>
                          <a:pt x="1583766" y="1445260"/>
                        </a:cubicBezTo>
                        <a:cubicBezTo>
                          <a:pt x="1583766" y="1458411"/>
                          <a:pt x="1583766" y="1478139"/>
                          <a:pt x="1577249" y="1484715"/>
                        </a:cubicBezTo>
                        <a:cubicBezTo>
                          <a:pt x="1564215" y="1497866"/>
                          <a:pt x="1544664" y="1504442"/>
                          <a:pt x="1531630" y="1497866"/>
                        </a:cubicBezTo>
                        <a:cubicBezTo>
                          <a:pt x="1518596" y="1497866"/>
                          <a:pt x="1505562" y="1471563"/>
                          <a:pt x="1505562" y="1451835"/>
                        </a:cubicBezTo>
                        <a:cubicBezTo>
                          <a:pt x="1499045" y="1438683"/>
                          <a:pt x="1505562" y="1405804"/>
                          <a:pt x="1492529" y="1386077"/>
                        </a:cubicBezTo>
                        <a:cubicBezTo>
                          <a:pt x="1479494" y="1372926"/>
                          <a:pt x="1453427" y="1372926"/>
                          <a:pt x="1433876" y="1366350"/>
                        </a:cubicBezTo>
                        <a:cubicBezTo>
                          <a:pt x="1407807" y="1366350"/>
                          <a:pt x="1388256" y="1346622"/>
                          <a:pt x="1368705" y="1333470"/>
                        </a:cubicBezTo>
                        <a:cubicBezTo>
                          <a:pt x="1355672" y="1326894"/>
                          <a:pt x="1349154" y="1313742"/>
                          <a:pt x="1336121" y="1313742"/>
                        </a:cubicBezTo>
                        <a:cubicBezTo>
                          <a:pt x="1323086" y="1307166"/>
                          <a:pt x="1303536" y="1300590"/>
                          <a:pt x="1290501" y="1300590"/>
                        </a:cubicBezTo>
                        <a:cubicBezTo>
                          <a:pt x="1257916" y="1294015"/>
                          <a:pt x="1218814" y="1267711"/>
                          <a:pt x="1212297" y="1234831"/>
                        </a:cubicBezTo>
                        <a:cubicBezTo>
                          <a:pt x="1205781" y="1215104"/>
                          <a:pt x="1192746" y="1201951"/>
                          <a:pt x="1179712" y="1182224"/>
                        </a:cubicBezTo>
                        <a:cubicBezTo>
                          <a:pt x="1175799" y="1166431"/>
                          <a:pt x="1176585" y="1153008"/>
                          <a:pt x="1181641" y="1140853"/>
                        </a:cubicBezTo>
                        <a:close/>
                        <a:moveTo>
                          <a:pt x="1969953" y="1036885"/>
                        </a:moveTo>
                        <a:cubicBezTo>
                          <a:pt x="1965880" y="1039703"/>
                          <a:pt x="1963552" y="1050980"/>
                          <a:pt x="1968207" y="1050980"/>
                        </a:cubicBezTo>
                        <a:cubicBezTo>
                          <a:pt x="1980623" y="1064346"/>
                          <a:pt x="1986830" y="1044298"/>
                          <a:pt x="1980623" y="1037616"/>
                        </a:cubicBezTo>
                        <a:lnTo>
                          <a:pt x="1975191" y="1037616"/>
                        </a:lnTo>
                        <a:cubicBezTo>
                          <a:pt x="1972863" y="1035944"/>
                          <a:pt x="1971311" y="1035944"/>
                          <a:pt x="1969953" y="1036885"/>
                        </a:cubicBezTo>
                        <a:close/>
                        <a:moveTo>
                          <a:pt x="1427507" y="943107"/>
                        </a:moveTo>
                        <a:cubicBezTo>
                          <a:pt x="1422616" y="943920"/>
                          <a:pt x="1417725" y="945544"/>
                          <a:pt x="1414465" y="945544"/>
                        </a:cubicBezTo>
                        <a:cubicBezTo>
                          <a:pt x="1407943" y="945544"/>
                          <a:pt x="1407943" y="952040"/>
                          <a:pt x="1401423" y="952040"/>
                        </a:cubicBezTo>
                        <a:cubicBezTo>
                          <a:pt x="1394902" y="965035"/>
                          <a:pt x="1407943" y="971531"/>
                          <a:pt x="1407943" y="978029"/>
                        </a:cubicBezTo>
                        <a:cubicBezTo>
                          <a:pt x="1407943" y="991023"/>
                          <a:pt x="1401423" y="991023"/>
                          <a:pt x="1394902" y="997519"/>
                        </a:cubicBezTo>
                        <a:cubicBezTo>
                          <a:pt x="1368817" y="1010514"/>
                          <a:pt x="1414465" y="1036501"/>
                          <a:pt x="1427507" y="1023509"/>
                        </a:cubicBezTo>
                        <a:cubicBezTo>
                          <a:pt x="1447071" y="1010514"/>
                          <a:pt x="1427507" y="978029"/>
                          <a:pt x="1453592" y="978029"/>
                        </a:cubicBezTo>
                        <a:cubicBezTo>
                          <a:pt x="1460113" y="978029"/>
                          <a:pt x="1460113" y="1004018"/>
                          <a:pt x="1466635" y="1010514"/>
                        </a:cubicBezTo>
                        <a:cubicBezTo>
                          <a:pt x="1473156" y="1017011"/>
                          <a:pt x="1486198" y="1017011"/>
                          <a:pt x="1492719" y="1017011"/>
                        </a:cubicBezTo>
                        <a:cubicBezTo>
                          <a:pt x="1499216" y="1017011"/>
                          <a:pt x="1505712" y="1017011"/>
                          <a:pt x="1505762" y="1017011"/>
                        </a:cubicBezTo>
                        <a:cubicBezTo>
                          <a:pt x="1512274" y="1010523"/>
                          <a:pt x="1505779" y="997555"/>
                          <a:pt x="1505762" y="997519"/>
                        </a:cubicBezTo>
                        <a:cubicBezTo>
                          <a:pt x="1499263" y="991047"/>
                          <a:pt x="1492766" y="991023"/>
                          <a:pt x="1492719" y="991023"/>
                        </a:cubicBezTo>
                        <a:cubicBezTo>
                          <a:pt x="1486198" y="991023"/>
                          <a:pt x="1479677" y="984526"/>
                          <a:pt x="1473156" y="978029"/>
                        </a:cubicBezTo>
                        <a:cubicBezTo>
                          <a:pt x="1466635" y="965035"/>
                          <a:pt x="1453592" y="945544"/>
                          <a:pt x="1440550" y="945544"/>
                        </a:cubicBezTo>
                        <a:cubicBezTo>
                          <a:pt x="1437289" y="942295"/>
                          <a:pt x="1432398" y="942295"/>
                          <a:pt x="1427507" y="943107"/>
                        </a:cubicBezTo>
                        <a:close/>
                        <a:moveTo>
                          <a:pt x="988089" y="922670"/>
                        </a:moveTo>
                        <a:cubicBezTo>
                          <a:pt x="1047007" y="922670"/>
                          <a:pt x="1094769" y="970432"/>
                          <a:pt x="1094769" y="1029350"/>
                        </a:cubicBezTo>
                        <a:cubicBezTo>
                          <a:pt x="1094769" y="1088268"/>
                          <a:pt x="1047007" y="1136030"/>
                          <a:pt x="988089" y="1136030"/>
                        </a:cubicBezTo>
                        <a:cubicBezTo>
                          <a:pt x="929171" y="1136030"/>
                          <a:pt x="881409" y="1088268"/>
                          <a:pt x="881409" y="1029350"/>
                        </a:cubicBezTo>
                        <a:cubicBezTo>
                          <a:pt x="881409" y="970432"/>
                          <a:pt x="929171" y="922670"/>
                          <a:pt x="988089" y="922670"/>
                        </a:cubicBezTo>
                        <a:close/>
                        <a:moveTo>
                          <a:pt x="3224792" y="881963"/>
                        </a:moveTo>
                        <a:cubicBezTo>
                          <a:pt x="3222331" y="881127"/>
                          <a:pt x="3220690" y="881127"/>
                          <a:pt x="3220690" y="884470"/>
                        </a:cubicBezTo>
                        <a:cubicBezTo>
                          <a:pt x="3214146" y="884470"/>
                          <a:pt x="3214129" y="891116"/>
                          <a:pt x="3214129" y="891152"/>
                        </a:cubicBezTo>
                        <a:cubicBezTo>
                          <a:pt x="3207567" y="897835"/>
                          <a:pt x="3201005" y="891152"/>
                          <a:pt x="3194443" y="897835"/>
                        </a:cubicBezTo>
                        <a:cubicBezTo>
                          <a:pt x="3187882" y="897835"/>
                          <a:pt x="3187882" y="904517"/>
                          <a:pt x="3181319" y="904517"/>
                        </a:cubicBezTo>
                        <a:cubicBezTo>
                          <a:pt x="3174757" y="904517"/>
                          <a:pt x="3174757" y="897835"/>
                          <a:pt x="3168195" y="897835"/>
                        </a:cubicBezTo>
                        <a:cubicBezTo>
                          <a:pt x="3168170" y="897860"/>
                          <a:pt x="3161652" y="904499"/>
                          <a:pt x="3161634" y="904517"/>
                        </a:cubicBezTo>
                        <a:cubicBezTo>
                          <a:pt x="3155088" y="904517"/>
                          <a:pt x="3155072" y="897868"/>
                          <a:pt x="3155072" y="897835"/>
                        </a:cubicBezTo>
                        <a:cubicBezTo>
                          <a:pt x="3148510" y="891152"/>
                          <a:pt x="3148510" y="884470"/>
                          <a:pt x="3141948" y="891152"/>
                        </a:cubicBezTo>
                        <a:cubicBezTo>
                          <a:pt x="3141878" y="891230"/>
                          <a:pt x="3135387" y="897877"/>
                          <a:pt x="3135387" y="904517"/>
                        </a:cubicBezTo>
                        <a:lnTo>
                          <a:pt x="3128825" y="909529"/>
                        </a:lnTo>
                        <a:lnTo>
                          <a:pt x="3122262" y="904517"/>
                        </a:lnTo>
                        <a:cubicBezTo>
                          <a:pt x="3122262" y="904467"/>
                          <a:pt x="3122250" y="891165"/>
                          <a:pt x="3115700" y="897835"/>
                        </a:cubicBezTo>
                        <a:cubicBezTo>
                          <a:pt x="3109138" y="897835"/>
                          <a:pt x="3115700" y="911199"/>
                          <a:pt x="3109138" y="917882"/>
                        </a:cubicBezTo>
                        <a:cubicBezTo>
                          <a:pt x="3107498" y="921224"/>
                          <a:pt x="3105858" y="921224"/>
                          <a:pt x="3102577" y="924565"/>
                        </a:cubicBezTo>
                        <a:cubicBezTo>
                          <a:pt x="3096015" y="924565"/>
                          <a:pt x="3096015" y="931247"/>
                          <a:pt x="3082891" y="924565"/>
                        </a:cubicBezTo>
                        <a:cubicBezTo>
                          <a:pt x="3082891" y="924532"/>
                          <a:pt x="3082883" y="911191"/>
                          <a:pt x="3076330" y="904517"/>
                        </a:cubicBezTo>
                        <a:cubicBezTo>
                          <a:pt x="3069768" y="904517"/>
                          <a:pt x="3063205" y="904517"/>
                          <a:pt x="3056643" y="904517"/>
                        </a:cubicBezTo>
                        <a:cubicBezTo>
                          <a:pt x="3050082" y="911199"/>
                          <a:pt x="3050082" y="917882"/>
                          <a:pt x="3056643" y="924565"/>
                        </a:cubicBezTo>
                        <a:cubicBezTo>
                          <a:pt x="3056680" y="924583"/>
                          <a:pt x="3069759" y="931258"/>
                          <a:pt x="3063205" y="937931"/>
                        </a:cubicBezTo>
                        <a:cubicBezTo>
                          <a:pt x="3056643" y="944614"/>
                          <a:pt x="3050082" y="937931"/>
                          <a:pt x="3050082" y="944614"/>
                        </a:cubicBezTo>
                        <a:cubicBezTo>
                          <a:pt x="3043520" y="957979"/>
                          <a:pt x="3063205" y="957979"/>
                          <a:pt x="3069768" y="964662"/>
                        </a:cubicBezTo>
                        <a:cubicBezTo>
                          <a:pt x="3069853" y="964747"/>
                          <a:pt x="3076266" y="971280"/>
                          <a:pt x="3076330" y="971343"/>
                        </a:cubicBezTo>
                        <a:cubicBezTo>
                          <a:pt x="3076330" y="978026"/>
                          <a:pt x="3069768" y="978026"/>
                          <a:pt x="3063205" y="984709"/>
                        </a:cubicBezTo>
                        <a:lnTo>
                          <a:pt x="3063205" y="990557"/>
                        </a:lnTo>
                        <a:cubicBezTo>
                          <a:pt x="3069768" y="998075"/>
                          <a:pt x="3082891" y="991392"/>
                          <a:pt x="3089453" y="984709"/>
                        </a:cubicBezTo>
                        <a:cubicBezTo>
                          <a:pt x="3096015" y="984709"/>
                          <a:pt x="3096015" y="984709"/>
                          <a:pt x="3102577" y="991392"/>
                        </a:cubicBezTo>
                        <a:cubicBezTo>
                          <a:pt x="3109138" y="991392"/>
                          <a:pt x="3102577" y="998075"/>
                          <a:pt x="3109138" y="998075"/>
                        </a:cubicBezTo>
                        <a:cubicBezTo>
                          <a:pt x="3128825" y="1004757"/>
                          <a:pt x="3141948" y="1011440"/>
                          <a:pt x="3155072" y="1004757"/>
                        </a:cubicBezTo>
                        <a:cubicBezTo>
                          <a:pt x="3168195" y="1004757"/>
                          <a:pt x="3174757" y="991392"/>
                          <a:pt x="3194443" y="991392"/>
                        </a:cubicBezTo>
                        <a:cubicBezTo>
                          <a:pt x="3194493" y="991392"/>
                          <a:pt x="3200949" y="991392"/>
                          <a:pt x="3201005" y="991392"/>
                        </a:cubicBezTo>
                        <a:cubicBezTo>
                          <a:pt x="3214129" y="998075"/>
                          <a:pt x="3227252" y="991392"/>
                          <a:pt x="3233814" y="984709"/>
                        </a:cubicBezTo>
                        <a:cubicBezTo>
                          <a:pt x="3246937" y="978026"/>
                          <a:pt x="3260062" y="971343"/>
                          <a:pt x="3266624" y="957979"/>
                        </a:cubicBezTo>
                        <a:cubicBezTo>
                          <a:pt x="3266624" y="957954"/>
                          <a:pt x="3266624" y="951371"/>
                          <a:pt x="3266624" y="951296"/>
                        </a:cubicBezTo>
                        <a:cubicBezTo>
                          <a:pt x="3273174" y="944626"/>
                          <a:pt x="3279723" y="944614"/>
                          <a:pt x="3279747" y="944614"/>
                        </a:cubicBezTo>
                        <a:cubicBezTo>
                          <a:pt x="3286309" y="937931"/>
                          <a:pt x="3286309" y="924565"/>
                          <a:pt x="3279747" y="917882"/>
                        </a:cubicBezTo>
                        <a:cubicBezTo>
                          <a:pt x="3273186" y="904517"/>
                          <a:pt x="3253500" y="924565"/>
                          <a:pt x="3246937" y="904517"/>
                        </a:cubicBezTo>
                        <a:cubicBezTo>
                          <a:pt x="3240376" y="897835"/>
                          <a:pt x="3240376" y="891152"/>
                          <a:pt x="3233814" y="884470"/>
                        </a:cubicBezTo>
                        <a:cubicBezTo>
                          <a:pt x="3230534" y="884470"/>
                          <a:pt x="3227252" y="882799"/>
                          <a:pt x="3224792" y="881963"/>
                        </a:cubicBezTo>
                        <a:close/>
                        <a:moveTo>
                          <a:pt x="1669153" y="794253"/>
                        </a:moveTo>
                        <a:cubicBezTo>
                          <a:pt x="1650234" y="794253"/>
                          <a:pt x="1650234" y="827318"/>
                          <a:pt x="1662847" y="833930"/>
                        </a:cubicBezTo>
                        <a:cubicBezTo>
                          <a:pt x="1688073" y="847157"/>
                          <a:pt x="1694379" y="794253"/>
                          <a:pt x="1669153" y="794253"/>
                        </a:cubicBezTo>
                        <a:close/>
                        <a:moveTo>
                          <a:pt x="2917809" y="791328"/>
                        </a:moveTo>
                        <a:cubicBezTo>
                          <a:pt x="2803426" y="906978"/>
                          <a:pt x="2693404" y="1026752"/>
                          <a:pt x="2589740" y="1149249"/>
                        </a:cubicBezTo>
                        <a:cubicBezTo>
                          <a:pt x="2570891" y="1129184"/>
                          <a:pt x="2551153" y="1110170"/>
                          <a:pt x="2530315" y="1092458"/>
                        </a:cubicBezTo>
                        <a:cubicBezTo>
                          <a:pt x="2535975" y="1081630"/>
                          <a:pt x="2541271" y="1075704"/>
                          <a:pt x="2541271" y="1069778"/>
                        </a:cubicBezTo>
                        <a:cubicBezTo>
                          <a:pt x="2547784" y="1056632"/>
                          <a:pt x="2547784" y="1050059"/>
                          <a:pt x="2554299" y="1036912"/>
                        </a:cubicBezTo>
                        <a:cubicBezTo>
                          <a:pt x="2560812" y="1030340"/>
                          <a:pt x="2560812" y="1030340"/>
                          <a:pt x="2567327" y="1017193"/>
                        </a:cubicBezTo>
                        <a:cubicBezTo>
                          <a:pt x="2567327" y="1004047"/>
                          <a:pt x="2554299" y="984327"/>
                          <a:pt x="2560812" y="971181"/>
                        </a:cubicBezTo>
                        <a:cubicBezTo>
                          <a:pt x="2567327" y="958035"/>
                          <a:pt x="2593382" y="958035"/>
                          <a:pt x="2599896" y="951461"/>
                        </a:cubicBezTo>
                        <a:cubicBezTo>
                          <a:pt x="2612924" y="944888"/>
                          <a:pt x="2619438" y="938315"/>
                          <a:pt x="2619438" y="931742"/>
                        </a:cubicBezTo>
                        <a:cubicBezTo>
                          <a:pt x="2632466" y="912022"/>
                          <a:pt x="2632466" y="905450"/>
                          <a:pt x="2652007" y="905450"/>
                        </a:cubicBezTo>
                        <a:cubicBezTo>
                          <a:pt x="2671550" y="905450"/>
                          <a:pt x="2684578" y="912022"/>
                          <a:pt x="2704119" y="898876"/>
                        </a:cubicBezTo>
                        <a:cubicBezTo>
                          <a:pt x="2723661" y="892302"/>
                          <a:pt x="2730175" y="879157"/>
                          <a:pt x="2743203" y="866011"/>
                        </a:cubicBezTo>
                        <a:cubicBezTo>
                          <a:pt x="2743203" y="859438"/>
                          <a:pt x="2749717" y="852865"/>
                          <a:pt x="2756230" y="846292"/>
                        </a:cubicBezTo>
                        <a:cubicBezTo>
                          <a:pt x="2762745" y="839718"/>
                          <a:pt x="2775773" y="839718"/>
                          <a:pt x="2788801" y="833146"/>
                        </a:cubicBezTo>
                        <a:cubicBezTo>
                          <a:pt x="2795314" y="826572"/>
                          <a:pt x="2795314" y="819998"/>
                          <a:pt x="2801829" y="813426"/>
                        </a:cubicBezTo>
                        <a:cubicBezTo>
                          <a:pt x="2814856" y="793706"/>
                          <a:pt x="2847426" y="800280"/>
                          <a:pt x="2866968" y="800280"/>
                        </a:cubicBezTo>
                        <a:cubicBezTo>
                          <a:pt x="2883927" y="800280"/>
                          <a:pt x="2900886" y="796716"/>
                          <a:pt x="2917809" y="791328"/>
                        </a:cubicBezTo>
                        <a:close/>
                        <a:moveTo>
                          <a:pt x="1583467" y="713505"/>
                        </a:moveTo>
                        <a:cubicBezTo>
                          <a:pt x="1564430" y="713505"/>
                          <a:pt x="1545392" y="720465"/>
                          <a:pt x="1551738" y="734388"/>
                        </a:cubicBezTo>
                        <a:cubicBezTo>
                          <a:pt x="1551738" y="748311"/>
                          <a:pt x="1577121" y="755272"/>
                          <a:pt x="1583467" y="748311"/>
                        </a:cubicBezTo>
                        <a:cubicBezTo>
                          <a:pt x="1602503" y="741349"/>
                          <a:pt x="1608849" y="720465"/>
                          <a:pt x="1589812" y="713505"/>
                        </a:cubicBezTo>
                        <a:cubicBezTo>
                          <a:pt x="1589781" y="713505"/>
                          <a:pt x="1583519" y="713505"/>
                          <a:pt x="1583467" y="713505"/>
                        </a:cubicBezTo>
                        <a:close/>
                        <a:moveTo>
                          <a:pt x="1128374" y="667178"/>
                        </a:moveTo>
                        <a:cubicBezTo>
                          <a:pt x="1127577" y="671213"/>
                          <a:pt x="1127577" y="676056"/>
                          <a:pt x="1127577" y="682456"/>
                        </a:cubicBezTo>
                        <a:cubicBezTo>
                          <a:pt x="1121059" y="695608"/>
                          <a:pt x="1127577" y="702183"/>
                          <a:pt x="1134093" y="708760"/>
                        </a:cubicBezTo>
                        <a:cubicBezTo>
                          <a:pt x="1147128" y="715336"/>
                          <a:pt x="1160161" y="708760"/>
                          <a:pt x="1173195" y="708760"/>
                        </a:cubicBezTo>
                        <a:cubicBezTo>
                          <a:pt x="1179713" y="708760"/>
                          <a:pt x="1199263" y="715336"/>
                          <a:pt x="1199263" y="721912"/>
                        </a:cubicBezTo>
                        <a:lnTo>
                          <a:pt x="1203336" y="736707"/>
                        </a:lnTo>
                        <a:cubicBezTo>
                          <a:pt x="1202522" y="739996"/>
                          <a:pt x="1199263" y="741640"/>
                          <a:pt x="1192746" y="741640"/>
                        </a:cubicBezTo>
                        <a:cubicBezTo>
                          <a:pt x="1186230" y="748216"/>
                          <a:pt x="1173195" y="748216"/>
                          <a:pt x="1179712" y="761367"/>
                        </a:cubicBezTo>
                        <a:cubicBezTo>
                          <a:pt x="1179712" y="767943"/>
                          <a:pt x="1192744" y="774518"/>
                          <a:pt x="1192746" y="781095"/>
                        </a:cubicBezTo>
                        <a:cubicBezTo>
                          <a:pt x="1199263" y="794247"/>
                          <a:pt x="1153644" y="800822"/>
                          <a:pt x="1147128" y="813975"/>
                        </a:cubicBezTo>
                        <a:cubicBezTo>
                          <a:pt x="1147128" y="827126"/>
                          <a:pt x="1147128" y="840278"/>
                          <a:pt x="1147128" y="846853"/>
                        </a:cubicBezTo>
                        <a:cubicBezTo>
                          <a:pt x="1140610" y="853429"/>
                          <a:pt x="1127577" y="853429"/>
                          <a:pt x="1127577" y="846853"/>
                        </a:cubicBezTo>
                        <a:cubicBezTo>
                          <a:pt x="1108026" y="827126"/>
                          <a:pt x="1121059" y="794247"/>
                          <a:pt x="1094992" y="787671"/>
                        </a:cubicBezTo>
                        <a:cubicBezTo>
                          <a:pt x="1081957" y="787671"/>
                          <a:pt x="1075441" y="794247"/>
                          <a:pt x="1075441" y="807398"/>
                        </a:cubicBezTo>
                        <a:cubicBezTo>
                          <a:pt x="1068924" y="820551"/>
                          <a:pt x="1055890" y="833702"/>
                          <a:pt x="1036339" y="827126"/>
                        </a:cubicBezTo>
                        <a:cubicBezTo>
                          <a:pt x="1023304" y="827126"/>
                          <a:pt x="1016788" y="820551"/>
                          <a:pt x="997237" y="820551"/>
                        </a:cubicBezTo>
                        <a:cubicBezTo>
                          <a:pt x="990758" y="820551"/>
                          <a:pt x="984280" y="820551"/>
                          <a:pt x="984202" y="820551"/>
                        </a:cubicBezTo>
                        <a:cubicBezTo>
                          <a:pt x="975891" y="820551"/>
                          <a:pt x="970230" y="812529"/>
                          <a:pt x="964963" y="807183"/>
                        </a:cubicBezTo>
                        <a:lnTo>
                          <a:pt x="1050097" y="729092"/>
                        </a:lnTo>
                        <a:cubicBezTo>
                          <a:pt x="1044758" y="761820"/>
                          <a:pt x="1108476" y="794102"/>
                          <a:pt x="1134142" y="780977"/>
                        </a:cubicBezTo>
                        <a:cubicBezTo>
                          <a:pt x="1153617" y="774336"/>
                          <a:pt x="1147125" y="747776"/>
                          <a:pt x="1140634" y="734497"/>
                        </a:cubicBezTo>
                        <a:cubicBezTo>
                          <a:pt x="1140634" y="721217"/>
                          <a:pt x="1108177" y="714576"/>
                          <a:pt x="1101683" y="714576"/>
                        </a:cubicBezTo>
                        <a:cubicBezTo>
                          <a:pt x="1095191" y="714576"/>
                          <a:pt x="1095191" y="714576"/>
                          <a:pt x="1088701" y="707937"/>
                        </a:cubicBezTo>
                        <a:lnTo>
                          <a:pt x="1068188" y="712599"/>
                        </a:lnTo>
                        <a:close/>
                        <a:moveTo>
                          <a:pt x="2958163" y="609658"/>
                        </a:moveTo>
                        <a:cubicBezTo>
                          <a:pt x="2971191" y="609658"/>
                          <a:pt x="2997246" y="616232"/>
                          <a:pt x="3010274" y="622804"/>
                        </a:cubicBezTo>
                        <a:cubicBezTo>
                          <a:pt x="3016788" y="629378"/>
                          <a:pt x="3029816" y="635951"/>
                          <a:pt x="3036329" y="649097"/>
                        </a:cubicBezTo>
                        <a:lnTo>
                          <a:pt x="3047816" y="660688"/>
                        </a:lnTo>
                        <a:lnTo>
                          <a:pt x="3010204" y="695856"/>
                        </a:lnTo>
                        <a:cubicBezTo>
                          <a:pt x="3005124" y="697176"/>
                          <a:pt x="3000555" y="696778"/>
                          <a:pt x="2997246" y="695109"/>
                        </a:cubicBezTo>
                        <a:cubicBezTo>
                          <a:pt x="2984219" y="681963"/>
                          <a:pt x="2990732" y="668817"/>
                          <a:pt x="2984219" y="655671"/>
                        </a:cubicBezTo>
                        <a:cubicBezTo>
                          <a:pt x="2977705" y="649097"/>
                          <a:pt x="2964677" y="655671"/>
                          <a:pt x="2958163" y="655671"/>
                        </a:cubicBezTo>
                        <a:cubicBezTo>
                          <a:pt x="2958163" y="642524"/>
                          <a:pt x="2958163" y="642524"/>
                          <a:pt x="2951649" y="635951"/>
                        </a:cubicBezTo>
                        <a:cubicBezTo>
                          <a:pt x="2951649" y="629378"/>
                          <a:pt x="2938621" y="629378"/>
                          <a:pt x="2938621" y="622804"/>
                        </a:cubicBezTo>
                        <a:cubicBezTo>
                          <a:pt x="2938621" y="616232"/>
                          <a:pt x="2951649" y="609658"/>
                          <a:pt x="2958163" y="609658"/>
                        </a:cubicBezTo>
                        <a:close/>
                        <a:moveTo>
                          <a:pt x="1600752" y="502077"/>
                        </a:moveTo>
                        <a:cubicBezTo>
                          <a:pt x="1592605" y="501254"/>
                          <a:pt x="1582830" y="502899"/>
                          <a:pt x="1576313" y="502899"/>
                        </a:cubicBezTo>
                        <a:cubicBezTo>
                          <a:pt x="1563279" y="509481"/>
                          <a:pt x="1550246" y="516062"/>
                          <a:pt x="1537211" y="516062"/>
                        </a:cubicBezTo>
                        <a:cubicBezTo>
                          <a:pt x="1524178" y="516062"/>
                          <a:pt x="1517661" y="516062"/>
                          <a:pt x="1504627" y="516062"/>
                        </a:cubicBezTo>
                        <a:cubicBezTo>
                          <a:pt x="1478559" y="516062"/>
                          <a:pt x="1445975" y="516062"/>
                          <a:pt x="1432941" y="542388"/>
                        </a:cubicBezTo>
                        <a:cubicBezTo>
                          <a:pt x="1426424" y="548969"/>
                          <a:pt x="1432941" y="575294"/>
                          <a:pt x="1439459" y="588459"/>
                        </a:cubicBezTo>
                        <a:cubicBezTo>
                          <a:pt x="1439459" y="595040"/>
                          <a:pt x="1452492" y="621365"/>
                          <a:pt x="1439459" y="627947"/>
                        </a:cubicBezTo>
                        <a:cubicBezTo>
                          <a:pt x="1432941" y="634529"/>
                          <a:pt x="1413391" y="621365"/>
                          <a:pt x="1406873" y="614784"/>
                        </a:cubicBezTo>
                        <a:cubicBezTo>
                          <a:pt x="1400357" y="608203"/>
                          <a:pt x="1400357" y="588459"/>
                          <a:pt x="1400357" y="575294"/>
                        </a:cubicBezTo>
                        <a:cubicBezTo>
                          <a:pt x="1400357" y="555550"/>
                          <a:pt x="1413391" y="522643"/>
                          <a:pt x="1393840" y="509481"/>
                        </a:cubicBezTo>
                        <a:cubicBezTo>
                          <a:pt x="1374289" y="496318"/>
                          <a:pt x="1354738" y="516062"/>
                          <a:pt x="1348221" y="535807"/>
                        </a:cubicBezTo>
                        <a:cubicBezTo>
                          <a:pt x="1335187" y="548969"/>
                          <a:pt x="1328670" y="555550"/>
                          <a:pt x="1322154" y="575294"/>
                        </a:cubicBezTo>
                        <a:cubicBezTo>
                          <a:pt x="1315637" y="588459"/>
                          <a:pt x="1302603" y="608203"/>
                          <a:pt x="1322154" y="621365"/>
                        </a:cubicBezTo>
                        <a:cubicBezTo>
                          <a:pt x="1328670" y="627947"/>
                          <a:pt x="1335187" y="627947"/>
                          <a:pt x="1341705" y="641110"/>
                        </a:cubicBezTo>
                        <a:cubicBezTo>
                          <a:pt x="1348221" y="654273"/>
                          <a:pt x="1348221" y="667435"/>
                          <a:pt x="1361255" y="680598"/>
                        </a:cubicBezTo>
                        <a:cubicBezTo>
                          <a:pt x="1380806" y="693761"/>
                          <a:pt x="1393840" y="680598"/>
                          <a:pt x="1419908" y="680598"/>
                        </a:cubicBezTo>
                        <a:cubicBezTo>
                          <a:pt x="1426424" y="687180"/>
                          <a:pt x="1432941" y="687180"/>
                          <a:pt x="1439459" y="693761"/>
                        </a:cubicBezTo>
                        <a:cubicBezTo>
                          <a:pt x="1445975" y="693761"/>
                          <a:pt x="1452492" y="693761"/>
                          <a:pt x="1465526" y="700343"/>
                        </a:cubicBezTo>
                        <a:cubicBezTo>
                          <a:pt x="1472043" y="700343"/>
                          <a:pt x="1478559" y="700343"/>
                          <a:pt x="1485076" y="700343"/>
                        </a:cubicBezTo>
                        <a:cubicBezTo>
                          <a:pt x="1498110" y="700343"/>
                          <a:pt x="1504627" y="706924"/>
                          <a:pt x="1517661" y="706924"/>
                        </a:cubicBezTo>
                        <a:cubicBezTo>
                          <a:pt x="1530695" y="706924"/>
                          <a:pt x="1537211" y="693761"/>
                          <a:pt x="1550246" y="687180"/>
                        </a:cubicBezTo>
                        <a:cubicBezTo>
                          <a:pt x="1582830" y="680598"/>
                          <a:pt x="1615415" y="693761"/>
                          <a:pt x="1641483" y="700343"/>
                        </a:cubicBezTo>
                        <a:cubicBezTo>
                          <a:pt x="1687100" y="720087"/>
                          <a:pt x="1732719" y="766157"/>
                          <a:pt x="1739235" y="818809"/>
                        </a:cubicBezTo>
                        <a:cubicBezTo>
                          <a:pt x="1745753" y="845134"/>
                          <a:pt x="1732719" y="871460"/>
                          <a:pt x="1726202" y="891204"/>
                        </a:cubicBezTo>
                        <a:cubicBezTo>
                          <a:pt x="1726202" y="897785"/>
                          <a:pt x="1719686" y="910946"/>
                          <a:pt x="1719686" y="917530"/>
                        </a:cubicBezTo>
                        <a:cubicBezTo>
                          <a:pt x="1719739" y="917576"/>
                          <a:pt x="1726202" y="924130"/>
                          <a:pt x="1726202" y="930693"/>
                        </a:cubicBezTo>
                        <a:cubicBezTo>
                          <a:pt x="1726202" y="943855"/>
                          <a:pt x="1713168" y="957018"/>
                          <a:pt x="1700135" y="963600"/>
                        </a:cubicBezTo>
                        <a:cubicBezTo>
                          <a:pt x="1687100" y="970183"/>
                          <a:pt x="1661033" y="970183"/>
                          <a:pt x="1647999" y="970183"/>
                        </a:cubicBezTo>
                        <a:cubicBezTo>
                          <a:pt x="1634965" y="970183"/>
                          <a:pt x="1615415" y="963600"/>
                          <a:pt x="1602381" y="970183"/>
                        </a:cubicBezTo>
                        <a:cubicBezTo>
                          <a:pt x="1589347" y="983345"/>
                          <a:pt x="1602381" y="1009670"/>
                          <a:pt x="1615415" y="1016253"/>
                        </a:cubicBezTo>
                        <a:cubicBezTo>
                          <a:pt x="1641483" y="1035996"/>
                          <a:pt x="1687100" y="996508"/>
                          <a:pt x="1713168" y="1016253"/>
                        </a:cubicBezTo>
                        <a:cubicBezTo>
                          <a:pt x="1726202" y="1022834"/>
                          <a:pt x="1732719" y="1035996"/>
                          <a:pt x="1745753" y="1042578"/>
                        </a:cubicBezTo>
                        <a:cubicBezTo>
                          <a:pt x="1758786" y="1049159"/>
                          <a:pt x="1765304" y="1055740"/>
                          <a:pt x="1771821" y="1055740"/>
                        </a:cubicBezTo>
                        <a:cubicBezTo>
                          <a:pt x="1791372" y="1062322"/>
                          <a:pt x="1804405" y="1055740"/>
                          <a:pt x="1823956" y="1055740"/>
                        </a:cubicBezTo>
                        <a:cubicBezTo>
                          <a:pt x="1836989" y="1055740"/>
                          <a:pt x="1856540" y="1055740"/>
                          <a:pt x="1869575" y="1062322"/>
                        </a:cubicBezTo>
                        <a:cubicBezTo>
                          <a:pt x="1876091" y="1068904"/>
                          <a:pt x="1889124" y="1068904"/>
                          <a:pt x="1902159" y="1075485"/>
                        </a:cubicBezTo>
                        <a:cubicBezTo>
                          <a:pt x="1908675" y="1075485"/>
                          <a:pt x="1915192" y="1075485"/>
                          <a:pt x="1915192" y="1062322"/>
                        </a:cubicBezTo>
                        <a:cubicBezTo>
                          <a:pt x="1915192" y="1055740"/>
                          <a:pt x="1902159" y="1055740"/>
                          <a:pt x="1895642" y="1049159"/>
                        </a:cubicBezTo>
                        <a:cubicBezTo>
                          <a:pt x="1882608" y="1042578"/>
                          <a:pt x="1843507" y="1035996"/>
                          <a:pt x="1850024" y="1016253"/>
                        </a:cubicBezTo>
                        <a:cubicBezTo>
                          <a:pt x="1856540" y="1003089"/>
                          <a:pt x="1869575" y="1009670"/>
                          <a:pt x="1882608" y="1009670"/>
                        </a:cubicBezTo>
                        <a:cubicBezTo>
                          <a:pt x="1895642" y="1009670"/>
                          <a:pt x="1902159" y="1003089"/>
                          <a:pt x="1915192" y="1003089"/>
                        </a:cubicBezTo>
                        <a:cubicBezTo>
                          <a:pt x="1928226" y="996508"/>
                          <a:pt x="1941261" y="996508"/>
                          <a:pt x="1941261" y="983345"/>
                        </a:cubicBezTo>
                        <a:cubicBezTo>
                          <a:pt x="1941261" y="970183"/>
                          <a:pt x="1928226" y="957018"/>
                          <a:pt x="1921710" y="950437"/>
                        </a:cubicBezTo>
                        <a:cubicBezTo>
                          <a:pt x="1902159" y="943855"/>
                          <a:pt x="1869575" y="917530"/>
                          <a:pt x="1882608" y="891204"/>
                        </a:cubicBezTo>
                        <a:cubicBezTo>
                          <a:pt x="1889124" y="878042"/>
                          <a:pt x="1928226" y="891204"/>
                          <a:pt x="1941261" y="897786"/>
                        </a:cubicBezTo>
                        <a:cubicBezTo>
                          <a:pt x="1954294" y="910949"/>
                          <a:pt x="1973845" y="930693"/>
                          <a:pt x="1993396" y="930693"/>
                        </a:cubicBezTo>
                        <a:cubicBezTo>
                          <a:pt x="2019463" y="930693"/>
                          <a:pt x="2039013" y="904368"/>
                          <a:pt x="2045531" y="878042"/>
                        </a:cubicBezTo>
                        <a:cubicBezTo>
                          <a:pt x="2058564" y="851716"/>
                          <a:pt x="2039013" y="838553"/>
                          <a:pt x="2012946" y="838553"/>
                        </a:cubicBezTo>
                        <a:cubicBezTo>
                          <a:pt x="1993396" y="838553"/>
                          <a:pt x="1973845" y="838553"/>
                          <a:pt x="1947777" y="825390"/>
                        </a:cubicBezTo>
                        <a:cubicBezTo>
                          <a:pt x="1928226" y="818809"/>
                          <a:pt x="1908675" y="812228"/>
                          <a:pt x="1889124" y="799065"/>
                        </a:cubicBezTo>
                        <a:cubicBezTo>
                          <a:pt x="1869575" y="772738"/>
                          <a:pt x="1863057" y="739832"/>
                          <a:pt x="1850024" y="713505"/>
                        </a:cubicBezTo>
                        <a:cubicBezTo>
                          <a:pt x="1843507" y="693761"/>
                          <a:pt x="1830473" y="674017"/>
                          <a:pt x="1817439" y="660854"/>
                        </a:cubicBezTo>
                        <a:cubicBezTo>
                          <a:pt x="1804405" y="654273"/>
                          <a:pt x="1791372" y="647691"/>
                          <a:pt x="1778337" y="647691"/>
                        </a:cubicBezTo>
                        <a:cubicBezTo>
                          <a:pt x="1771821" y="641110"/>
                          <a:pt x="1765304" y="641110"/>
                          <a:pt x="1758786" y="641110"/>
                        </a:cubicBezTo>
                        <a:cubicBezTo>
                          <a:pt x="1758771" y="641094"/>
                          <a:pt x="1752340" y="634598"/>
                          <a:pt x="1752270" y="634529"/>
                        </a:cubicBezTo>
                        <a:cubicBezTo>
                          <a:pt x="1739235" y="627947"/>
                          <a:pt x="1732719" y="614784"/>
                          <a:pt x="1719686" y="595040"/>
                        </a:cubicBezTo>
                        <a:cubicBezTo>
                          <a:pt x="1706651" y="581877"/>
                          <a:pt x="1687100" y="581877"/>
                          <a:pt x="1674067" y="581877"/>
                        </a:cubicBezTo>
                        <a:cubicBezTo>
                          <a:pt x="1647999" y="575294"/>
                          <a:pt x="1576313" y="575294"/>
                          <a:pt x="1602381" y="535807"/>
                        </a:cubicBezTo>
                        <a:cubicBezTo>
                          <a:pt x="1608897" y="529225"/>
                          <a:pt x="1615415" y="522643"/>
                          <a:pt x="1615415" y="516062"/>
                        </a:cubicBezTo>
                        <a:cubicBezTo>
                          <a:pt x="1615415" y="506190"/>
                          <a:pt x="1608897" y="502899"/>
                          <a:pt x="1600752" y="502077"/>
                        </a:cubicBezTo>
                        <a:close/>
                        <a:moveTo>
                          <a:pt x="1473191" y="450839"/>
                        </a:moveTo>
                        <a:cubicBezTo>
                          <a:pt x="1479728" y="450839"/>
                          <a:pt x="1486265" y="463833"/>
                          <a:pt x="1492801" y="463833"/>
                        </a:cubicBezTo>
                        <a:cubicBezTo>
                          <a:pt x="1510749" y="469779"/>
                          <a:pt x="1545118" y="464841"/>
                          <a:pt x="1555152" y="453328"/>
                        </a:cubicBezTo>
                        <a:cubicBezTo>
                          <a:pt x="1817156" y="581451"/>
                          <a:pt x="2046164" y="732868"/>
                          <a:pt x="2248392" y="896876"/>
                        </a:cubicBezTo>
                        <a:cubicBezTo>
                          <a:pt x="2248144" y="897469"/>
                          <a:pt x="2248144" y="898130"/>
                          <a:pt x="2248144" y="898876"/>
                        </a:cubicBezTo>
                        <a:cubicBezTo>
                          <a:pt x="2248144" y="918596"/>
                          <a:pt x="2267685" y="925168"/>
                          <a:pt x="2274200" y="938315"/>
                        </a:cubicBezTo>
                        <a:cubicBezTo>
                          <a:pt x="2274200" y="944888"/>
                          <a:pt x="2274200" y="951461"/>
                          <a:pt x="2280713" y="958035"/>
                        </a:cubicBezTo>
                        <a:cubicBezTo>
                          <a:pt x="2287228" y="971181"/>
                          <a:pt x="2287228" y="964607"/>
                          <a:pt x="2300255" y="971181"/>
                        </a:cubicBezTo>
                        <a:cubicBezTo>
                          <a:pt x="2303512" y="971181"/>
                          <a:pt x="2306769" y="971181"/>
                          <a:pt x="2308398" y="972824"/>
                        </a:cubicBezTo>
                        <a:lnTo>
                          <a:pt x="2306769" y="984327"/>
                        </a:lnTo>
                        <a:cubicBezTo>
                          <a:pt x="2306769" y="990901"/>
                          <a:pt x="2293741" y="984327"/>
                          <a:pt x="2293741" y="997473"/>
                        </a:cubicBezTo>
                        <a:cubicBezTo>
                          <a:pt x="2293741" y="1004030"/>
                          <a:pt x="2306702" y="1017125"/>
                          <a:pt x="2306769" y="1017193"/>
                        </a:cubicBezTo>
                        <a:cubicBezTo>
                          <a:pt x="2313243" y="1023726"/>
                          <a:pt x="2319717" y="1023766"/>
                          <a:pt x="2319797" y="1023766"/>
                        </a:cubicBezTo>
                        <a:cubicBezTo>
                          <a:pt x="2326311" y="1030340"/>
                          <a:pt x="2319797" y="1043486"/>
                          <a:pt x="2326311" y="1043486"/>
                        </a:cubicBezTo>
                        <a:cubicBezTo>
                          <a:pt x="2332825" y="1063206"/>
                          <a:pt x="2345853" y="1056632"/>
                          <a:pt x="2358880" y="1063206"/>
                        </a:cubicBezTo>
                        <a:cubicBezTo>
                          <a:pt x="2371908" y="1063206"/>
                          <a:pt x="2371908" y="1082924"/>
                          <a:pt x="2378423" y="1089497"/>
                        </a:cubicBezTo>
                        <a:cubicBezTo>
                          <a:pt x="2384936" y="1109216"/>
                          <a:pt x="2397964" y="1122362"/>
                          <a:pt x="2417506" y="1122362"/>
                        </a:cubicBezTo>
                        <a:cubicBezTo>
                          <a:pt x="2430534" y="1122362"/>
                          <a:pt x="2430534" y="1115790"/>
                          <a:pt x="2443561" y="1122362"/>
                        </a:cubicBezTo>
                        <a:cubicBezTo>
                          <a:pt x="2456589" y="1128936"/>
                          <a:pt x="2463104" y="1135510"/>
                          <a:pt x="2476131" y="1148656"/>
                        </a:cubicBezTo>
                        <a:cubicBezTo>
                          <a:pt x="2482645" y="1155228"/>
                          <a:pt x="2495673" y="1161802"/>
                          <a:pt x="2502187" y="1161802"/>
                        </a:cubicBezTo>
                        <a:cubicBezTo>
                          <a:pt x="2508701" y="1155228"/>
                          <a:pt x="2508701" y="1148656"/>
                          <a:pt x="2508701" y="1142082"/>
                        </a:cubicBezTo>
                        <a:lnTo>
                          <a:pt x="2517444" y="1133259"/>
                        </a:lnTo>
                        <a:lnTo>
                          <a:pt x="2564596" y="1177954"/>
                        </a:lnTo>
                        <a:cubicBezTo>
                          <a:pt x="2487464" y="1268743"/>
                          <a:pt x="2413642" y="1360723"/>
                          <a:pt x="2344538" y="1453727"/>
                        </a:cubicBezTo>
                        <a:cubicBezTo>
                          <a:pt x="2244363" y="1415184"/>
                          <a:pt x="2144762" y="1379803"/>
                          <a:pt x="2046472" y="1347605"/>
                        </a:cubicBezTo>
                        <a:cubicBezTo>
                          <a:pt x="2046472" y="1342893"/>
                          <a:pt x="2046472" y="1338182"/>
                          <a:pt x="2046472" y="1333470"/>
                        </a:cubicBezTo>
                        <a:cubicBezTo>
                          <a:pt x="2039956" y="1320318"/>
                          <a:pt x="2033439" y="1313742"/>
                          <a:pt x="2033439" y="1307166"/>
                        </a:cubicBezTo>
                        <a:cubicBezTo>
                          <a:pt x="2033439" y="1294015"/>
                          <a:pt x="2033439" y="1287439"/>
                          <a:pt x="2026921" y="1274286"/>
                        </a:cubicBezTo>
                        <a:cubicBezTo>
                          <a:pt x="2026921" y="1261135"/>
                          <a:pt x="2026921" y="1254559"/>
                          <a:pt x="2020405" y="1247984"/>
                        </a:cubicBezTo>
                        <a:cubicBezTo>
                          <a:pt x="2013888" y="1234831"/>
                          <a:pt x="1994337" y="1228255"/>
                          <a:pt x="1987819" y="1215104"/>
                        </a:cubicBezTo>
                        <a:cubicBezTo>
                          <a:pt x="1974786" y="1201951"/>
                          <a:pt x="1981303" y="1195376"/>
                          <a:pt x="1974786" y="1182224"/>
                        </a:cubicBezTo>
                        <a:cubicBezTo>
                          <a:pt x="1968268" y="1169073"/>
                          <a:pt x="1955235" y="1155920"/>
                          <a:pt x="1942201" y="1169073"/>
                        </a:cubicBezTo>
                        <a:cubicBezTo>
                          <a:pt x="1935684" y="1175648"/>
                          <a:pt x="1929166" y="1188800"/>
                          <a:pt x="1922650" y="1195376"/>
                        </a:cubicBezTo>
                        <a:cubicBezTo>
                          <a:pt x="1909616" y="1215104"/>
                          <a:pt x="1883548" y="1215104"/>
                          <a:pt x="1863997" y="1208528"/>
                        </a:cubicBezTo>
                        <a:cubicBezTo>
                          <a:pt x="1844446" y="1201951"/>
                          <a:pt x="1831412" y="1182224"/>
                          <a:pt x="1824895" y="1162496"/>
                        </a:cubicBezTo>
                        <a:cubicBezTo>
                          <a:pt x="1824895" y="1142769"/>
                          <a:pt x="1824895" y="1123040"/>
                          <a:pt x="1805344" y="1109889"/>
                        </a:cubicBezTo>
                        <a:cubicBezTo>
                          <a:pt x="1792310" y="1096738"/>
                          <a:pt x="1772759" y="1090162"/>
                          <a:pt x="1753208" y="1077009"/>
                        </a:cubicBezTo>
                        <a:cubicBezTo>
                          <a:pt x="1746691" y="1063858"/>
                          <a:pt x="1733657" y="1050706"/>
                          <a:pt x="1720624" y="1044130"/>
                        </a:cubicBezTo>
                        <a:cubicBezTo>
                          <a:pt x="1701072" y="1044130"/>
                          <a:pt x="1681521" y="1050706"/>
                          <a:pt x="1668487" y="1063858"/>
                        </a:cubicBezTo>
                        <a:cubicBezTo>
                          <a:pt x="1655453" y="1070434"/>
                          <a:pt x="1635902" y="1063858"/>
                          <a:pt x="1622868" y="1070434"/>
                        </a:cubicBezTo>
                        <a:cubicBezTo>
                          <a:pt x="1596800" y="1077009"/>
                          <a:pt x="1616351" y="1109889"/>
                          <a:pt x="1609834" y="1129617"/>
                        </a:cubicBezTo>
                        <a:cubicBezTo>
                          <a:pt x="1609834" y="1136193"/>
                          <a:pt x="1603317" y="1136193"/>
                          <a:pt x="1603317" y="1142769"/>
                        </a:cubicBezTo>
                        <a:cubicBezTo>
                          <a:pt x="1609834" y="1149344"/>
                          <a:pt x="1609834" y="1149344"/>
                          <a:pt x="1616351" y="1155920"/>
                        </a:cubicBezTo>
                        <a:cubicBezTo>
                          <a:pt x="1616351" y="1162496"/>
                          <a:pt x="1609834" y="1175648"/>
                          <a:pt x="1603317" y="1182224"/>
                        </a:cubicBezTo>
                        <a:cubicBezTo>
                          <a:pt x="1598146" y="1187442"/>
                          <a:pt x="1584769" y="1192660"/>
                          <a:pt x="1581417" y="1202381"/>
                        </a:cubicBezTo>
                        <a:cubicBezTo>
                          <a:pt x="1448623" y="1163631"/>
                          <a:pt x="1321528" y="1130745"/>
                          <a:pt x="1202361" y="1103854"/>
                        </a:cubicBezTo>
                        <a:cubicBezTo>
                          <a:pt x="1209628" y="1093304"/>
                          <a:pt x="1215701" y="1088445"/>
                          <a:pt x="1225332" y="1083585"/>
                        </a:cubicBezTo>
                        <a:cubicBezTo>
                          <a:pt x="1238365" y="1077009"/>
                          <a:pt x="1244883" y="1063858"/>
                          <a:pt x="1257916" y="1057282"/>
                        </a:cubicBezTo>
                        <a:cubicBezTo>
                          <a:pt x="1264434" y="1044130"/>
                          <a:pt x="1264434" y="1030978"/>
                          <a:pt x="1270950" y="1024402"/>
                        </a:cubicBezTo>
                        <a:cubicBezTo>
                          <a:pt x="1277467" y="1017827"/>
                          <a:pt x="1283985" y="1017827"/>
                          <a:pt x="1290501" y="1011251"/>
                        </a:cubicBezTo>
                        <a:cubicBezTo>
                          <a:pt x="1303536" y="1004674"/>
                          <a:pt x="1323086" y="998098"/>
                          <a:pt x="1342637" y="991523"/>
                        </a:cubicBezTo>
                        <a:cubicBezTo>
                          <a:pt x="1349154" y="984947"/>
                          <a:pt x="1355672" y="984947"/>
                          <a:pt x="1355672" y="978371"/>
                        </a:cubicBezTo>
                        <a:cubicBezTo>
                          <a:pt x="1355672" y="971796"/>
                          <a:pt x="1349154" y="958643"/>
                          <a:pt x="1349154" y="952067"/>
                        </a:cubicBezTo>
                        <a:cubicBezTo>
                          <a:pt x="1336121" y="945492"/>
                          <a:pt x="1329603" y="945492"/>
                          <a:pt x="1316569" y="945492"/>
                        </a:cubicBezTo>
                        <a:cubicBezTo>
                          <a:pt x="1310052" y="945492"/>
                          <a:pt x="1283985" y="945492"/>
                          <a:pt x="1290501" y="925763"/>
                        </a:cubicBezTo>
                        <a:cubicBezTo>
                          <a:pt x="1297018" y="912612"/>
                          <a:pt x="1323084" y="919188"/>
                          <a:pt x="1336121" y="919188"/>
                        </a:cubicBezTo>
                        <a:cubicBezTo>
                          <a:pt x="1342637" y="925763"/>
                          <a:pt x="1355672" y="932340"/>
                          <a:pt x="1368705" y="932340"/>
                        </a:cubicBezTo>
                        <a:cubicBezTo>
                          <a:pt x="1388256" y="925763"/>
                          <a:pt x="1381739" y="899460"/>
                          <a:pt x="1401290" y="892884"/>
                        </a:cubicBezTo>
                        <a:cubicBezTo>
                          <a:pt x="1414325" y="892885"/>
                          <a:pt x="1414325" y="892885"/>
                          <a:pt x="1427358" y="899460"/>
                        </a:cubicBezTo>
                        <a:cubicBezTo>
                          <a:pt x="1440392" y="906036"/>
                          <a:pt x="1466460" y="886308"/>
                          <a:pt x="1479494" y="879732"/>
                        </a:cubicBezTo>
                        <a:cubicBezTo>
                          <a:pt x="1499045" y="873156"/>
                          <a:pt x="1512079" y="866581"/>
                          <a:pt x="1531630" y="866581"/>
                        </a:cubicBezTo>
                        <a:cubicBezTo>
                          <a:pt x="1544664" y="860005"/>
                          <a:pt x="1551181" y="853429"/>
                          <a:pt x="1544664" y="840278"/>
                        </a:cubicBezTo>
                        <a:cubicBezTo>
                          <a:pt x="1544664" y="820551"/>
                          <a:pt x="1531630" y="820551"/>
                          <a:pt x="1518596" y="807398"/>
                        </a:cubicBezTo>
                        <a:cubicBezTo>
                          <a:pt x="1518596" y="800851"/>
                          <a:pt x="1518596" y="794305"/>
                          <a:pt x="1518596" y="794247"/>
                        </a:cubicBezTo>
                        <a:cubicBezTo>
                          <a:pt x="1518596" y="781095"/>
                          <a:pt x="1512079" y="774518"/>
                          <a:pt x="1518596" y="767943"/>
                        </a:cubicBezTo>
                        <a:cubicBezTo>
                          <a:pt x="1518596" y="761367"/>
                          <a:pt x="1525113" y="754791"/>
                          <a:pt x="1518596" y="748216"/>
                        </a:cubicBezTo>
                        <a:cubicBezTo>
                          <a:pt x="1518596" y="741640"/>
                          <a:pt x="1505562" y="741640"/>
                          <a:pt x="1499045" y="735063"/>
                        </a:cubicBezTo>
                        <a:cubicBezTo>
                          <a:pt x="1492529" y="728487"/>
                          <a:pt x="1492529" y="721912"/>
                          <a:pt x="1479494" y="721912"/>
                        </a:cubicBezTo>
                        <a:cubicBezTo>
                          <a:pt x="1466460" y="715336"/>
                          <a:pt x="1453427" y="715336"/>
                          <a:pt x="1440392" y="721912"/>
                        </a:cubicBezTo>
                        <a:cubicBezTo>
                          <a:pt x="1427358" y="721912"/>
                          <a:pt x="1420841" y="728487"/>
                          <a:pt x="1427358" y="741640"/>
                        </a:cubicBezTo>
                        <a:cubicBezTo>
                          <a:pt x="1427358" y="748216"/>
                          <a:pt x="1446909" y="754791"/>
                          <a:pt x="1440392" y="767943"/>
                        </a:cubicBezTo>
                        <a:cubicBezTo>
                          <a:pt x="1433907" y="767943"/>
                          <a:pt x="1427420" y="767943"/>
                          <a:pt x="1427358" y="767943"/>
                        </a:cubicBezTo>
                        <a:cubicBezTo>
                          <a:pt x="1420841" y="767943"/>
                          <a:pt x="1420841" y="774518"/>
                          <a:pt x="1414325" y="781095"/>
                        </a:cubicBezTo>
                        <a:cubicBezTo>
                          <a:pt x="1414325" y="787671"/>
                          <a:pt x="1420841" y="794247"/>
                          <a:pt x="1414325" y="800822"/>
                        </a:cubicBezTo>
                        <a:cubicBezTo>
                          <a:pt x="1414325" y="807398"/>
                          <a:pt x="1414325" y="813975"/>
                          <a:pt x="1407807" y="813975"/>
                        </a:cubicBezTo>
                        <a:cubicBezTo>
                          <a:pt x="1401290" y="827126"/>
                          <a:pt x="1388256" y="846853"/>
                          <a:pt x="1375223" y="846853"/>
                        </a:cubicBezTo>
                        <a:cubicBezTo>
                          <a:pt x="1362188" y="846853"/>
                          <a:pt x="1355672" y="840278"/>
                          <a:pt x="1355672" y="827126"/>
                        </a:cubicBezTo>
                        <a:cubicBezTo>
                          <a:pt x="1342637" y="807398"/>
                          <a:pt x="1349154" y="787671"/>
                          <a:pt x="1349154" y="767943"/>
                        </a:cubicBezTo>
                        <a:cubicBezTo>
                          <a:pt x="1349154" y="754791"/>
                          <a:pt x="1336121" y="735063"/>
                          <a:pt x="1323086" y="748216"/>
                        </a:cubicBezTo>
                        <a:cubicBezTo>
                          <a:pt x="1310052" y="754791"/>
                          <a:pt x="1323086" y="800822"/>
                          <a:pt x="1297019" y="787671"/>
                        </a:cubicBezTo>
                        <a:cubicBezTo>
                          <a:pt x="1290501" y="781095"/>
                          <a:pt x="1290501" y="774518"/>
                          <a:pt x="1283985" y="767943"/>
                        </a:cubicBezTo>
                        <a:cubicBezTo>
                          <a:pt x="1283985" y="754791"/>
                          <a:pt x="1283985" y="748216"/>
                          <a:pt x="1270950" y="741640"/>
                        </a:cubicBezTo>
                        <a:cubicBezTo>
                          <a:pt x="1257916" y="741640"/>
                          <a:pt x="1251399" y="728487"/>
                          <a:pt x="1251399" y="721912"/>
                        </a:cubicBezTo>
                        <a:cubicBezTo>
                          <a:pt x="1244883" y="715336"/>
                          <a:pt x="1244883" y="715336"/>
                          <a:pt x="1244883" y="708760"/>
                        </a:cubicBezTo>
                        <a:cubicBezTo>
                          <a:pt x="1244883" y="702230"/>
                          <a:pt x="1251308" y="695700"/>
                          <a:pt x="1251399" y="695608"/>
                        </a:cubicBezTo>
                        <a:cubicBezTo>
                          <a:pt x="1251399" y="689032"/>
                          <a:pt x="1244883" y="695608"/>
                          <a:pt x="1238365" y="689032"/>
                        </a:cubicBezTo>
                        <a:cubicBezTo>
                          <a:pt x="1238365" y="688966"/>
                          <a:pt x="1238407" y="682456"/>
                          <a:pt x="1244883" y="682456"/>
                        </a:cubicBezTo>
                        <a:cubicBezTo>
                          <a:pt x="1244916" y="682490"/>
                          <a:pt x="1251416" y="689018"/>
                          <a:pt x="1257916" y="682456"/>
                        </a:cubicBezTo>
                        <a:cubicBezTo>
                          <a:pt x="1264434" y="675880"/>
                          <a:pt x="1264434" y="669305"/>
                          <a:pt x="1257916" y="662728"/>
                        </a:cubicBezTo>
                        <a:cubicBezTo>
                          <a:pt x="1251399" y="656152"/>
                          <a:pt x="1238365" y="656152"/>
                          <a:pt x="1225332" y="649576"/>
                        </a:cubicBezTo>
                        <a:cubicBezTo>
                          <a:pt x="1218814" y="643001"/>
                          <a:pt x="1212297" y="636425"/>
                          <a:pt x="1199263" y="629849"/>
                        </a:cubicBezTo>
                        <a:lnTo>
                          <a:pt x="1191096" y="619842"/>
                        </a:lnTo>
                        <a:cubicBezTo>
                          <a:pt x="1266574" y="560992"/>
                          <a:pt x="1346933" y="508634"/>
                          <a:pt x="1431148" y="462521"/>
                        </a:cubicBezTo>
                        <a:cubicBezTo>
                          <a:pt x="1436385" y="465947"/>
                          <a:pt x="1443536" y="466330"/>
                          <a:pt x="1453581" y="463833"/>
                        </a:cubicBezTo>
                        <a:cubicBezTo>
                          <a:pt x="1460118" y="457335"/>
                          <a:pt x="1466655" y="450839"/>
                          <a:pt x="1473191" y="450839"/>
                        </a:cubicBezTo>
                        <a:close/>
                        <a:moveTo>
                          <a:pt x="1777745" y="298724"/>
                        </a:moveTo>
                        <a:cubicBezTo>
                          <a:pt x="1779996" y="305951"/>
                          <a:pt x="1785271" y="311547"/>
                          <a:pt x="1792168" y="313867"/>
                        </a:cubicBezTo>
                        <a:cubicBezTo>
                          <a:pt x="1811710" y="327013"/>
                          <a:pt x="1831252" y="320441"/>
                          <a:pt x="1844279" y="313867"/>
                        </a:cubicBezTo>
                        <a:cubicBezTo>
                          <a:pt x="1850794" y="307294"/>
                          <a:pt x="1857307" y="307294"/>
                          <a:pt x="1863822" y="307294"/>
                        </a:cubicBezTo>
                        <a:cubicBezTo>
                          <a:pt x="1870335" y="307294"/>
                          <a:pt x="1883363" y="307294"/>
                          <a:pt x="1889878" y="307294"/>
                        </a:cubicBezTo>
                        <a:cubicBezTo>
                          <a:pt x="1896391" y="307294"/>
                          <a:pt x="1909419" y="313867"/>
                          <a:pt x="1902904" y="320441"/>
                        </a:cubicBezTo>
                        <a:cubicBezTo>
                          <a:pt x="1902904" y="340158"/>
                          <a:pt x="1863822" y="327013"/>
                          <a:pt x="1850794" y="333587"/>
                        </a:cubicBezTo>
                        <a:cubicBezTo>
                          <a:pt x="1831252" y="333587"/>
                          <a:pt x="1805196" y="333587"/>
                          <a:pt x="1792168" y="353306"/>
                        </a:cubicBezTo>
                        <a:cubicBezTo>
                          <a:pt x="1785655" y="366452"/>
                          <a:pt x="1798682" y="379598"/>
                          <a:pt x="1811710" y="386171"/>
                        </a:cubicBezTo>
                        <a:cubicBezTo>
                          <a:pt x="1824738" y="392744"/>
                          <a:pt x="1837766" y="399317"/>
                          <a:pt x="1857307" y="399317"/>
                        </a:cubicBezTo>
                        <a:cubicBezTo>
                          <a:pt x="1870335" y="392744"/>
                          <a:pt x="1883363" y="379598"/>
                          <a:pt x="1896391" y="373025"/>
                        </a:cubicBezTo>
                        <a:cubicBezTo>
                          <a:pt x="1941988" y="359878"/>
                          <a:pt x="1994100" y="373025"/>
                          <a:pt x="2033183" y="386171"/>
                        </a:cubicBezTo>
                        <a:cubicBezTo>
                          <a:pt x="2052726" y="392744"/>
                          <a:pt x="2072267" y="399317"/>
                          <a:pt x="2085295" y="412464"/>
                        </a:cubicBezTo>
                        <a:cubicBezTo>
                          <a:pt x="2104837" y="419037"/>
                          <a:pt x="2117865" y="432183"/>
                          <a:pt x="2130893" y="438757"/>
                        </a:cubicBezTo>
                        <a:cubicBezTo>
                          <a:pt x="2150434" y="451903"/>
                          <a:pt x="2163462" y="471622"/>
                          <a:pt x="2176490" y="491342"/>
                        </a:cubicBezTo>
                        <a:cubicBezTo>
                          <a:pt x="2189518" y="517634"/>
                          <a:pt x="2215574" y="543926"/>
                          <a:pt x="2202546" y="576792"/>
                        </a:cubicBezTo>
                        <a:cubicBezTo>
                          <a:pt x="2196032" y="583366"/>
                          <a:pt x="2189518" y="583366"/>
                          <a:pt x="2189518" y="589938"/>
                        </a:cubicBezTo>
                        <a:cubicBezTo>
                          <a:pt x="2189518" y="609658"/>
                          <a:pt x="2202546" y="609658"/>
                          <a:pt x="2215574" y="609658"/>
                        </a:cubicBezTo>
                        <a:cubicBezTo>
                          <a:pt x="2241629" y="609658"/>
                          <a:pt x="2280713" y="609658"/>
                          <a:pt x="2293741" y="635951"/>
                        </a:cubicBezTo>
                        <a:cubicBezTo>
                          <a:pt x="2293741" y="649097"/>
                          <a:pt x="2293741" y="662243"/>
                          <a:pt x="2287228" y="662243"/>
                        </a:cubicBezTo>
                        <a:cubicBezTo>
                          <a:pt x="2274200" y="668817"/>
                          <a:pt x="2261172" y="655671"/>
                          <a:pt x="2254657" y="655671"/>
                        </a:cubicBezTo>
                        <a:cubicBezTo>
                          <a:pt x="2241629" y="655671"/>
                          <a:pt x="2215574" y="649097"/>
                          <a:pt x="2209060" y="662243"/>
                        </a:cubicBezTo>
                        <a:cubicBezTo>
                          <a:pt x="2202546" y="675389"/>
                          <a:pt x="2215574" y="675389"/>
                          <a:pt x="2222088" y="681963"/>
                        </a:cubicBezTo>
                        <a:cubicBezTo>
                          <a:pt x="2228602" y="681963"/>
                          <a:pt x="2228602" y="688537"/>
                          <a:pt x="2235116" y="695109"/>
                        </a:cubicBezTo>
                        <a:cubicBezTo>
                          <a:pt x="2234979" y="695149"/>
                          <a:pt x="2209060" y="701698"/>
                          <a:pt x="2209060" y="708255"/>
                        </a:cubicBezTo>
                        <a:cubicBezTo>
                          <a:pt x="2209060" y="721401"/>
                          <a:pt x="2222088" y="721401"/>
                          <a:pt x="2222088" y="734547"/>
                        </a:cubicBezTo>
                        <a:cubicBezTo>
                          <a:pt x="2228602" y="741121"/>
                          <a:pt x="2215574" y="741121"/>
                          <a:pt x="2215574" y="754267"/>
                        </a:cubicBezTo>
                        <a:cubicBezTo>
                          <a:pt x="2215574" y="760841"/>
                          <a:pt x="2235116" y="767413"/>
                          <a:pt x="2241629" y="767413"/>
                        </a:cubicBezTo>
                        <a:cubicBezTo>
                          <a:pt x="2280713" y="760841"/>
                          <a:pt x="2241629" y="714828"/>
                          <a:pt x="2254657" y="701682"/>
                        </a:cubicBezTo>
                        <a:cubicBezTo>
                          <a:pt x="2274200" y="681963"/>
                          <a:pt x="2332825" y="708255"/>
                          <a:pt x="2345853" y="714828"/>
                        </a:cubicBezTo>
                        <a:cubicBezTo>
                          <a:pt x="2365395" y="721401"/>
                          <a:pt x="2365395" y="741121"/>
                          <a:pt x="2352367" y="754267"/>
                        </a:cubicBezTo>
                        <a:cubicBezTo>
                          <a:pt x="2339339" y="767413"/>
                          <a:pt x="2326311" y="767413"/>
                          <a:pt x="2319797" y="787133"/>
                        </a:cubicBezTo>
                        <a:cubicBezTo>
                          <a:pt x="2319797" y="800280"/>
                          <a:pt x="2313283" y="806852"/>
                          <a:pt x="2306769" y="813426"/>
                        </a:cubicBezTo>
                        <a:cubicBezTo>
                          <a:pt x="2287228" y="819998"/>
                          <a:pt x="2274200" y="813426"/>
                          <a:pt x="2261172" y="819998"/>
                        </a:cubicBezTo>
                        <a:cubicBezTo>
                          <a:pt x="2254657" y="819998"/>
                          <a:pt x="2248144" y="826572"/>
                          <a:pt x="2241629" y="833146"/>
                        </a:cubicBezTo>
                        <a:cubicBezTo>
                          <a:pt x="2241629" y="846292"/>
                          <a:pt x="2248144" y="846292"/>
                          <a:pt x="2254657" y="852865"/>
                        </a:cubicBezTo>
                        <a:lnTo>
                          <a:pt x="2254657" y="854402"/>
                        </a:lnTo>
                        <a:cubicBezTo>
                          <a:pt x="2030443" y="673237"/>
                          <a:pt x="1790845" y="523986"/>
                          <a:pt x="1532172" y="408254"/>
                        </a:cubicBezTo>
                        <a:lnTo>
                          <a:pt x="1563400" y="393072"/>
                        </a:lnTo>
                        <a:cubicBezTo>
                          <a:pt x="1563537" y="393150"/>
                          <a:pt x="1563677" y="393221"/>
                          <a:pt x="1563818" y="393292"/>
                        </a:cubicBezTo>
                        <a:lnTo>
                          <a:pt x="1571320" y="389221"/>
                        </a:lnTo>
                        <a:cubicBezTo>
                          <a:pt x="1637311" y="353400"/>
                          <a:pt x="1706271" y="323188"/>
                          <a:pt x="1777745" y="298724"/>
                        </a:cubicBezTo>
                        <a:close/>
                        <a:moveTo>
                          <a:pt x="3557306" y="287696"/>
                        </a:moveTo>
                        <a:cubicBezTo>
                          <a:pt x="3811168" y="380958"/>
                          <a:pt x="4045360" y="515441"/>
                          <a:pt x="4252506" y="682887"/>
                        </a:cubicBezTo>
                        <a:cubicBezTo>
                          <a:pt x="4246666" y="683314"/>
                          <a:pt x="4240452" y="680970"/>
                          <a:pt x="4236562" y="680970"/>
                        </a:cubicBezTo>
                        <a:cubicBezTo>
                          <a:pt x="4197447" y="674391"/>
                          <a:pt x="4217004" y="713866"/>
                          <a:pt x="4184408" y="727024"/>
                        </a:cubicBezTo>
                        <a:cubicBezTo>
                          <a:pt x="4164851" y="733603"/>
                          <a:pt x="4119217" y="727024"/>
                          <a:pt x="4112698" y="759919"/>
                        </a:cubicBezTo>
                        <a:cubicBezTo>
                          <a:pt x="4112698" y="766499"/>
                          <a:pt x="4112698" y="779657"/>
                          <a:pt x="4106180" y="786235"/>
                        </a:cubicBezTo>
                        <a:cubicBezTo>
                          <a:pt x="4099661" y="799393"/>
                          <a:pt x="4086622" y="792814"/>
                          <a:pt x="4073584" y="792814"/>
                        </a:cubicBezTo>
                        <a:cubicBezTo>
                          <a:pt x="4067065" y="805972"/>
                          <a:pt x="4080103" y="805972"/>
                          <a:pt x="4086622" y="812551"/>
                        </a:cubicBezTo>
                        <a:cubicBezTo>
                          <a:pt x="4093141" y="838867"/>
                          <a:pt x="4073584" y="825709"/>
                          <a:pt x="4060546" y="832288"/>
                        </a:cubicBezTo>
                        <a:cubicBezTo>
                          <a:pt x="4047507" y="838867"/>
                          <a:pt x="4060546" y="845447"/>
                          <a:pt x="4060546" y="852027"/>
                        </a:cubicBezTo>
                        <a:cubicBezTo>
                          <a:pt x="4060546" y="878343"/>
                          <a:pt x="4034470" y="858606"/>
                          <a:pt x="4021431" y="858606"/>
                        </a:cubicBezTo>
                        <a:cubicBezTo>
                          <a:pt x="3982316" y="858606"/>
                          <a:pt x="4034469" y="904657"/>
                          <a:pt x="4027950" y="911238"/>
                        </a:cubicBezTo>
                        <a:cubicBezTo>
                          <a:pt x="4008392" y="930976"/>
                          <a:pt x="3988835" y="891501"/>
                          <a:pt x="3969279" y="917817"/>
                        </a:cubicBezTo>
                        <a:cubicBezTo>
                          <a:pt x="3962759" y="930976"/>
                          <a:pt x="3956240" y="950712"/>
                          <a:pt x="3943201" y="963870"/>
                        </a:cubicBezTo>
                        <a:cubicBezTo>
                          <a:pt x="3938313" y="973739"/>
                          <a:pt x="3922422" y="976206"/>
                          <a:pt x="3925783" y="982374"/>
                        </a:cubicBezTo>
                        <a:lnTo>
                          <a:pt x="3936683" y="990186"/>
                        </a:lnTo>
                        <a:cubicBezTo>
                          <a:pt x="3943201" y="996765"/>
                          <a:pt x="3956240" y="1003344"/>
                          <a:pt x="3943201" y="1009923"/>
                        </a:cubicBezTo>
                        <a:cubicBezTo>
                          <a:pt x="3930164" y="1009923"/>
                          <a:pt x="3910607" y="1003344"/>
                          <a:pt x="3897568" y="1003344"/>
                        </a:cubicBezTo>
                        <a:cubicBezTo>
                          <a:pt x="3891049" y="996765"/>
                          <a:pt x="3878010" y="996765"/>
                          <a:pt x="3871492" y="1003344"/>
                        </a:cubicBezTo>
                        <a:cubicBezTo>
                          <a:pt x="3864973" y="1016503"/>
                          <a:pt x="3878010" y="1023082"/>
                          <a:pt x="3871492" y="1029661"/>
                        </a:cubicBezTo>
                        <a:cubicBezTo>
                          <a:pt x="3871492" y="1055977"/>
                          <a:pt x="3825858" y="1029661"/>
                          <a:pt x="3819339" y="1055977"/>
                        </a:cubicBezTo>
                        <a:cubicBezTo>
                          <a:pt x="3819339" y="1062556"/>
                          <a:pt x="3825858" y="1075714"/>
                          <a:pt x="3819339" y="1082292"/>
                        </a:cubicBezTo>
                        <a:cubicBezTo>
                          <a:pt x="3812821" y="1095451"/>
                          <a:pt x="3793263" y="1088871"/>
                          <a:pt x="3780225" y="1095451"/>
                        </a:cubicBezTo>
                        <a:lnTo>
                          <a:pt x="3769631" y="1097095"/>
                        </a:lnTo>
                        <a:lnTo>
                          <a:pt x="3773706" y="1108609"/>
                        </a:lnTo>
                        <a:cubicBezTo>
                          <a:pt x="3773744" y="1108609"/>
                          <a:pt x="3780225" y="1108629"/>
                          <a:pt x="3780225" y="1115188"/>
                        </a:cubicBezTo>
                        <a:cubicBezTo>
                          <a:pt x="3773706" y="1121767"/>
                          <a:pt x="3773706" y="1115188"/>
                          <a:pt x="3767186" y="1121767"/>
                        </a:cubicBezTo>
                        <a:cubicBezTo>
                          <a:pt x="3767186" y="1125056"/>
                          <a:pt x="3765556" y="1125056"/>
                          <a:pt x="3764741" y="1125879"/>
                        </a:cubicBezTo>
                        <a:lnTo>
                          <a:pt x="3767186" y="1134925"/>
                        </a:lnTo>
                        <a:cubicBezTo>
                          <a:pt x="3767252" y="1134925"/>
                          <a:pt x="3773749" y="1134961"/>
                          <a:pt x="3780225" y="1141504"/>
                        </a:cubicBezTo>
                        <a:cubicBezTo>
                          <a:pt x="3786743" y="1154662"/>
                          <a:pt x="3780225" y="1148083"/>
                          <a:pt x="3773706" y="1161241"/>
                        </a:cubicBezTo>
                        <a:cubicBezTo>
                          <a:pt x="3760667" y="1174399"/>
                          <a:pt x="3793263" y="1167820"/>
                          <a:pt x="3799782" y="1174399"/>
                        </a:cubicBezTo>
                        <a:cubicBezTo>
                          <a:pt x="3819339" y="1194137"/>
                          <a:pt x="3767186" y="1194137"/>
                          <a:pt x="3773706" y="1213874"/>
                        </a:cubicBezTo>
                        <a:cubicBezTo>
                          <a:pt x="3778595" y="1223743"/>
                          <a:pt x="3798152" y="1215107"/>
                          <a:pt x="3802125" y="1221274"/>
                        </a:cubicBezTo>
                        <a:lnTo>
                          <a:pt x="3799782" y="1233610"/>
                        </a:lnTo>
                        <a:cubicBezTo>
                          <a:pt x="3793263" y="1240189"/>
                          <a:pt x="3786743" y="1240189"/>
                          <a:pt x="3786743" y="1246768"/>
                        </a:cubicBezTo>
                        <a:cubicBezTo>
                          <a:pt x="3786743" y="1266506"/>
                          <a:pt x="3799782" y="1253347"/>
                          <a:pt x="3806301" y="1253347"/>
                        </a:cubicBezTo>
                        <a:cubicBezTo>
                          <a:pt x="3819339" y="1259926"/>
                          <a:pt x="3806301" y="1286243"/>
                          <a:pt x="3825858" y="1279664"/>
                        </a:cubicBezTo>
                        <a:cubicBezTo>
                          <a:pt x="3845416" y="1279664"/>
                          <a:pt x="3838897" y="1253347"/>
                          <a:pt x="3858454" y="1253347"/>
                        </a:cubicBezTo>
                        <a:cubicBezTo>
                          <a:pt x="3864973" y="1253347"/>
                          <a:pt x="3871492" y="1259926"/>
                          <a:pt x="3878010" y="1253347"/>
                        </a:cubicBezTo>
                        <a:cubicBezTo>
                          <a:pt x="3884530" y="1253347"/>
                          <a:pt x="3884530" y="1240189"/>
                          <a:pt x="3891049" y="1233610"/>
                        </a:cubicBezTo>
                        <a:cubicBezTo>
                          <a:pt x="3904088" y="1227031"/>
                          <a:pt x="3910607" y="1240187"/>
                          <a:pt x="3917125" y="1240189"/>
                        </a:cubicBezTo>
                        <a:cubicBezTo>
                          <a:pt x="3930164" y="1240189"/>
                          <a:pt x="3936683" y="1227031"/>
                          <a:pt x="3943201" y="1240189"/>
                        </a:cubicBezTo>
                        <a:cubicBezTo>
                          <a:pt x="3943201" y="1259926"/>
                          <a:pt x="3923645" y="1273085"/>
                          <a:pt x="3936683" y="1286243"/>
                        </a:cubicBezTo>
                        <a:cubicBezTo>
                          <a:pt x="3949721" y="1299402"/>
                          <a:pt x="3975798" y="1305981"/>
                          <a:pt x="3988835" y="1312560"/>
                        </a:cubicBezTo>
                        <a:lnTo>
                          <a:pt x="3996067" y="1323251"/>
                        </a:lnTo>
                        <a:cubicBezTo>
                          <a:pt x="3996985" y="1330653"/>
                          <a:pt x="3982316" y="1330653"/>
                          <a:pt x="3982316" y="1345455"/>
                        </a:cubicBezTo>
                        <a:cubicBezTo>
                          <a:pt x="3975798" y="1371772"/>
                          <a:pt x="4008392" y="1384929"/>
                          <a:pt x="4021431" y="1358614"/>
                        </a:cubicBezTo>
                        <a:cubicBezTo>
                          <a:pt x="4027950" y="1338876"/>
                          <a:pt x="4021431" y="1325718"/>
                          <a:pt x="4054026" y="1332297"/>
                        </a:cubicBezTo>
                        <a:cubicBezTo>
                          <a:pt x="4073584" y="1338876"/>
                          <a:pt x="4080103" y="1325718"/>
                          <a:pt x="4073584" y="1305981"/>
                        </a:cubicBezTo>
                        <a:cubicBezTo>
                          <a:pt x="4067065" y="1279664"/>
                          <a:pt x="4054026" y="1259926"/>
                          <a:pt x="4080103" y="1246768"/>
                        </a:cubicBezTo>
                        <a:cubicBezTo>
                          <a:pt x="4093141" y="1240189"/>
                          <a:pt x="4112698" y="1240189"/>
                          <a:pt x="4119217" y="1227031"/>
                        </a:cubicBezTo>
                        <a:cubicBezTo>
                          <a:pt x="4132256" y="1207295"/>
                          <a:pt x="4125737" y="1187558"/>
                          <a:pt x="4112698" y="1174399"/>
                        </a:cubicBezTo>
                        <a:cubicBezTo>
                          <a:pt x="4099661" y="1161241"/>
                          <a:pt x="4086622" y="1148083"/>
                          <a:pt x="4086622" y="1134925"/>
                        </a:cubicBezTo>
                        <a:cubicBezTo>
                          <a:pt x="4086622" y="1121767"/>
                          <a:pt x="4099661" y="1108609"/>
                          <a:pt x="4099661" y="1095451"/>
                        </a:cubicBezTo>
                        <a:cubicBezTo>
                          <a:pt x="4099661" y="1082292"/>
                          <a:pt x="4093141" y="1062556"/>
                          <a:pt x="4106180" y="1049398"/>
                        </a:cubicBezTo>
                        <a:cubicBezTo>
                          <a:pt x="4112698" y="1042819"/>
                          <a:pt x="4125737" y="1049398"/>
                          <a:pt x="4125737" y="1029661"/>
                        </a:cubicBezTo>
                        <a:cubicBezTo>
                          <a:pt x="4132256" y="1023082"/>
                          <a:pt x="4125737" y="1016503"/>
                          <a:pt x="4138775" y="1009923"/>
                        </a:cubicBezTo>
                        <a:cubicBezTo>
                          <a:pt x="4158332" y="996765"/>
                          <a:pt x="4171371" y="1009923"/>
                          <a:pt x="4184408" y="983607"/>
                        </a:cubicBezTo>
                        <a:cubicBezTo>
                          <a:pt x="4190928" y="970449"/>
                          <a:pt x="4203966" y="950712"/>
                          <a:pt x="4203966" y="930976"/>
                        </a:cubicBezTo>
                        <a:cubicBezTo>
                          <a:pt x="4210486" y="911238"/>
                          <a:pt x="4236562" y="898080"/>
                          <a:pt x="4256119" y="904659"/>
                        </a:cubicBezTo>
                        <a:cubicBezTo>
                          <a:pt x="4269157" y="904659"/>
                          <a:pt x="4269157" y="917817"/>
                          <a:pt x="4269157" y="930976"/>
                        </a:cubicBezTo>
                        <a:cubicBezTo>
                          <a:pt x="4269157" y="937544"/>
                          <a:pt x="4269157" y="944112"/>
                          <a:pt x="4269157" y="944133"/>
                        </a:cubicBezTo>
                        <a:cubicBezTo>
                          <a:pt x="4275675" y="950712"/>
                          <a:pt x="4275675" y="957291"/>
                          <a:pt x="4275675" y="963870"/>
                        </a:cubicBezTo>
                        <a:cubicBezTo>
                          <a:pt x="4275675" y="977028"/>
                          <a:pt x="4256119" y="983607"/>
                          <a:pt x="4249599" y="983607"/>
                        </a:cubicBezTo>
                        <a:cubicBezTo>
                          <a:pt x="4230042" y="996765"/>
                          <a:pt x="4217004" y="1003344"/>
                          <a:pt x="4210486" y="1016503"/>
                        </a:cubicBezTo>
                        <a:cubicBezTo>
                          <a:pt x="4203966" y="1023082"/>
                          <a:pt x="4203966" y="1029661"/>
                          <a:pt x="4203966" y="1036240"/>
                        </a:cubicBezTo>
                        <a:cubicBezTo>
                          <a:pt x="4197447" y="1055977"/>
                          <a:pt x="4210486" y="1069135"/>
                          <a:pt x="4210486" y="1088871"/>
                        </a:cubicBezTo>
                        <a:cubicBezTo>
                          <a:pt x="4217004" y="1102030"/>
                          <a:pt x="4223523" y="1108609"/>
                          <a:pt x="4223523" y="1121767"/>
                        </a:cubicBezTo>
                        <a:cubicBezTo>
                          <a:pt x="4236562" y="1134925"/>
                          <a:pt x="4230042" y="1154662"/>
                          <a:pt x="4243080" y="1167820"/>
                        </a:cubicBezTo>
                        <a:cubicBezTo>
                          <a:pt x="4256119" y="1174399"/>
                          <a:pt x="4269157" y="1174399"/>
                          <a:pt x="4282195" y="1167820"/>
                        </a:cubicBezTo>
                        <a:cubicBezTo>
                          <a:pt x="4295233" y="1154662"/>
                          <a:pt x="4308271" y="1141504"/>
                          <a:pt x="4327829" y="1141504"/>
                        </a:cubicBezTo>
                        <a:cubicBezTo>
                          <a:pt x="4340866" y="1141504"/>
                          <a:pt x="4347386" y="1154662"/>
                          <a:pt x="4353905" y="1154662"/>
                        </a:cubicBezTo>
                        <a:cubicBezTo>
                          <a:pt x="4366944" y="1161241"/>
                          <a:pt x="4373462" y="1154662"/>
                          <a:pt x="4386500" y="1154662"/>
                        </a:cubicBezTo>
                        <a:cubicBezTo>
                          <a:pt x="4399539" y="1161241"/>
                          <a:pt x="4419096" y="1180979"/>
                          <a:pt x="4393020" y="1187558"/>
                        </a:cubicBezTo>
                        <a:cubicBezTo>
                          <a:pt x="4379981" y="1194137"/>
                          <a:pt x="4366944" y="1187558"/>
                          <a:pt x="4353905" y="1187558"/>
                        </a:cubicBezTo>
                        <a:cubicBezTo>
                          <a:pt x="4334348" y="1187558"/>
                          <a:pt x="4334348" y="1200716"/>
                          <a:pt x="4321310" y="1200716"/>
                        </a:cubicBezTo>
                        <a:cubicBezTo>
                          <a:pt x="4301753" y="1207295"/>
                          <a:pt x="4288714" y="1187558"/>
                          <a:pt x="4269157" y="1200716"/>
                        </a:cubicBezTo>
                        <a:cubicBezTo>
                          <a:pt x="4230042" y="1227031"/>
                          <a:pt x="4288714" y="1259926"/>
                          <a:pt x="4262638" y="1286243"/>
                        </a:cubicBezTo>
                        <a:cubicBezTo>
                          <a:pt x="4249599" y="1305981"/>
                          <a:pt x="4236562" y="1279664"/>
                          <a:pt x="4230042" y="1273085"/>
                        </a:cubicBezTo>
                        <a:cubicBezTo>
                          <a:pt x="4210486" y="1266506"/>
                          <a:pt x="4190928" y="1279664"/>
                          <a:pt x="4190928" y="1292823"/>
                        </a:cubicBezTo>
                        <a:cubicBezTo>
                          <a:pt x="4184408" y="1312560"/>
                          <a:pt x="4197447" y="1325718"/>
                          <a:pt x="4190928" y="1345455"/>
                        </a:cubicBezTo>
                        <a:cubicBezTo>
                          <a:pt x="4190928" y="1352035"/>
                          <a:pt x="4184408" y="1352035"/>
                          <a:pt x="4177889" y="1358614"/>
                        </a:cubicBezTo>
                        <a:cubicBezTo>
                          <a:pt x="4177889" y="1371772"/>
                          <a:pt x="4184408" y="1371772"/>
                          <a:pt x="4184408" y="1378351"/>
                        </a:cubicBezTo>
                        <a:cubicBezTo>
                          <a:pt x="4177889" y="1391508"/>
                          <a:pt x="4171371" y="1384929"/>
                          <a:pt x="4164851" y="1391508"/>
                        </a:cubicBezTo>
                        <a:cubicBezTo>
                          <a:pt x="4145294" y="1391508"/>
                          <a:pt x="4151813" y="1404666"/>
                          <a:pt x="4145294" y="1411245"/>
                        </a:cubicBezTo>
                        <a:cubicBezTo>
                          <a:pt x="4132256" y="1430983"/>
                          <a:pt x="4112698" y="1424403"/>
                          <a:pt x="4093141" y="1424403"/>
                        </a:cubicBezTo>
                        <a:cubicBezTo>
                          <a:pt x="4067065" y="1424403"/>
                          <a:pt x="4054026" y="1430983"/>
                          <a:pt x="4027950" y="1444141"/>
                        </a:cubicBezTo>
                        <a:cubicBezTo>
                          <a:pt x="4001874" y="1450720"/>
                          <a:pt x="3988835" y="1430983"/>
                          <a:pt x="3969279" y="1430983"/>
                        </a:cubicBezTo>
                        <a:lnTo>
                          <a:pt x="3959805" y="1429338"/>
                        </a:lnTo>
                        <a:cubicBezTo>
                          <a:pt x="3954610" y="1430571"/>
                          <a:pt x="3959500" y="1439206"/>
                          <a:pt x="3949721" y="1444141"/>
                        </a:cubicBezTo>
                        <a:cubicBezTo>
                          <a:pt x="3936683" y="1450720"/>
                          <a:pt x="3930164" y="1444141"/>
                          <a:pt x="3923645" y="1437562"/>
                        </a:cubicBezTo>
                        <a:cubicBezTo>
                          <a:pt x="3917125" y="1437562"/>
                          <a:pt x="3910607" y="1430983"/>
                          <a:pt x="3904088" y="1424403"/>
                        </a:cubicBezTo>
                        <a:cubicBezTo>
                          <a:pt x="3884530" y="1404666"/>
                          <a:pt x="3910607" y="1398087"/>
                          <a:pt x="3904088" y="1384929"/>
                        </a:cubicBezTo>
                        <a:cubicBezTo>
                          <a:pt x="3904088" y="1365193"/>
                          <a:pt x="3897568" y="1365193"/>
                          <a:pt x="3904088" y="1352035"/>
                        </a:cubicBezTo>
                        <a:cubicBezTo>
                          <a:pt x="3904088" y="1345456"/>
                          <a:pt x="3904088" y="1338876"/>
                          <a:pt x="3904088" y="1332297"/>
                        </a:cubicBezTo>
                        <a:cubicBezTo>
                          <a:pt x="3904088" y="1325718"/>
                          <a:pt x="3904088" y="1319139"/>
                          <a:pt x="3904088" y="1305981"/>
                        </a:cubicBezTo>
                        <a:cubicBezTo>
                          <a:pt x="3910607" y="1299402"/>
                          <a:pt x="3917125" y="1266506"/>
                          <a:pt x="3897568" y="1279664"/>
                        </a:cubicBezTo>
                        <a:cubicBezTo>
                          <a:pt x="3884530" y="1279664"/>
                          <a:pt x="3891049" y="1292823"/>
                          <a:pt x="3884530" y="1292823"/>
                        </a:cubicBezTo>
                        <a:cubicBezTo>
                          <a:pt x="3878010" y="1299402"/>
                          <a:pt x="3871492" y="1292823"/>
                          <a:pt x="3864973" y="1292823"/>
                        </a:cubicBezTo>
                        <a:cubicBezTo>
                          <a:pt x="3851934" y="1305981"/>
                          <a:pt x="3884530" y="1312560"/>
                          <a:pt x="3884530" y="1319139"/>
                        </a:cubicBezTo>
                        <a:cubicBezTo>
                          <a:pt x="3871492" y="1325718"/>
                          <a:pt x="3825858" y="1325718"/>
                          <a:pt x="3838897" y="1352035"/>
                        </a:cubicBezTo>
                        <a:cubicBezTo>
                          <a:pt x="3845416" y="1358614"/>
                          <a:pt x="3851934" y="1358614"/>
                          <a:pt x="3858454" y="1365193"/>
                        </a:cubicBezTo>
                        <a:cubicBezTo>
                          <a:pt x="3858454" y="1378351"/>
                          <a:pt x="3851934" y="1378351"/>
                          <a:pt x="3851934" y="1384929"/>
                        </a:cubicBezTo>
                        <a:cubicBezTo>
                          <a:pt x="3845416" y="1404666"/>
                          <a:pt x="3871492" y="1417824"/>
                          <a:pt x="3878010" y="1430983"/>
                        </a:cubicBezTo>
                        <a:cubicBezTo>
                          <a:pt x="3884530" y="1463878"/>
                          <a:pt x="3858454" y="1457299"/>
                          <a:pt x="3838897" y="1463878"/>
                        </a:cubicBezTo>
                        <a:cubicBezTo>
                          <a:pt x="3838816" y="1463970"/>
                          <a:pt x="3832336" y="1470457"/>
                          <a:pt x="3825858" y="1470457"/>
                        </a:cubicBezTo>
                        <a:cubicBezTo>
                          <a:pt x="3819339" y="1477036"/>
                          <a:pt x="3812821" y="1470457"/>
                          <a:pt x="3806301" y="1470457"/>
                        </a:cubicBezTo>
                        <a:cubicBezTo>
                          <a:pt x="3786743" y="1470457"/>
                          <a:pt x="3773706" y="1477036"/>
                          <a:pt x="3760667" y="1490194"/>
                        </a:cubicBezTo>
                        <a:cubicBezTo>
                          <a:pt x="3754148" y="1509932"/>
                          <a:pt x="3760667" y="1523090"/>
                          <a:pt x="3754148" y="1536248"/>
                        </a:cubicBezTo>
                        <a:cubicBezTo>
                          <a:pt x="3741110" y="1555984"/>
                          <a:pt x="3715033" y="1555984"/>
                          <a:pt x="3695476" y="1549405"/>
                        </a:cubicBezTo>
                        <a:cubicBezTo>
                          <a:pt x="3682439" y="1549405"/>
                          <a:pt x="3669400" y="1549405"/>
                          <a:pt x="3669400" y="1569142"/>
                        </a:cubicBezTo>
                        <a:cubicBezTo>
                          <a:pt x="3669400" y="1582300"/>
                          <a:pt x="3682439" y="1588880"/>
                          <a:pt x="3675919" y="1602038"/>
                        </a:cubicBezTo>
                        <a:cubicBezTo>
                          <a:pt x="3675919" y="1615196"/>
                          <a:pt x="3656361" y="1615196"/>
                          <a:pt x="3643324" y="1615196"/>
                        </a:cubicBezTo>
                        <a:cubicBezTo>
                          <a:pt x="3630285" y="1615196"/>
                          <a:pt x="3623766" y="1602038"/>
                          <a:pt x="3610728" y="1602038"/>
                        </a:cubicBezTo>
                        <a:lnTo>
                          <a:pt x="3597791" y="1601525"/>
                        </a:lnTo>
                        <a:cubicBezTo>
                          <a:pt x="3590763" y="1604917"/>
                          <a:pt x="3599320" y="1618485"/>
                          <a:pt x="3604209" y="1628354"/>
                        </a:cubicBezTo>
                        <a:cubicBezTo>
                          <a:pt x="3610728" y="1648091"/>
                          <a:pt x="3584651" y="1641512"/>
                          <a:pt x="3571614" y="1641512"/>
                        </a:cubicBezTo>
                        <a:cubicBezTo>
                          <a:pt x="3552057" y="1648091"/>
                          <a:pt x="3512942" y="1634933"/>
                          <a:pt x="3512942" y="1661249"/>
                        </a:cubicBezTo>
                        <a:cubicBezTo>
                          <a:pt x="3512942" y="1680987"/>
                          <a:pt x="3539018" y="1680987"/>
                          <a:pt x="3558575" y="1687566"/>
                        </a:cubicBezTo>
                        <a:cubicBezTo>
                          <a:pt x="3578133" y="1694144"/>
                          <a:pt x="3565094" y="1720460"/>
                          <a:pt x="3584651" y="1733618"/>
                        </a:cubicBezTo>
                        <a:cubicBezTo>
                          <a:pt x="3604209" y="1746776"/>
                          <a:pt x="3643324" y="1746776"/>
                          <a:pt x="3623766" y="1779673"/>
                        </a:cubicBezTo>
                        <a:cubicBezTo>
                          <a:pt x="3617248" y="1792831"/>
                          <a:pt x="3610728" y="1792831"/>
                          <a:pt x="3604209" y="1805989"/>
                        </a:cubicBezTo>
                        <a:cubicBezTo>
                          <a:pt x="3604209" y="1819147"/>
                          <a:pt x="3604209" y="1832305"/>
                          <a:pt x="3597690" y="1845464"/>
                        </a:cubicBezTo>
                        <a:cubicBezTo>
                          <a:pt x="3584651" y="1865200"/>
                          <a:pt x="3552057" y="1865200"/>
                          <a:pt x="3532499" y="1865200"/>
                        </a:cubicBezTo>
                        <a:cubicBezTo>
                          <a:pt x="3519460" y="1865200"/>
                          <a:pt x="3499903" y="1865200"/>
                          <a:pt x="3486865" y="1858621"/>
                        </a:cubicBezTo>
                        <a:cubicBezTo>
                          <a:pt x="3480346" y="1858621"/>
                          <a:pt x="3473827" y="1858621"/>
                          <a:pt x="3467308" y="1852042"/>
                        </a:cubicBezTo>
                        <a:cubicBezTo>
                          <a:pt x="3460789" y="1852042"/>
                          <a:pt x="3454269" y="1838885"/>
                          <a:pt x="3441232" y="1838885"/>
                        </a:cubicBezTo>
                        <a:cubicBezTo>
                          <a:pt x="3441232" y="1845412"/>
                          <a:pt x="3434813" y="1845464"/>
                          <a:pt x="3434712" y="1845464"/>
                        </a:cubicBezTo>
                        <a:cubicBezTo>
                          <a:pt x="3428193" y="1852042"/>
                          <a:pt x="3428193" y="1852042"/>
                          <a:pt x="3421674" y="1852042"/>
                        </a:cubicBezTo>
                        <a:cubicBezTo>
                          <a:pt x="3402117" y="1858621"/>
                          <a:pt x="3389078" y="1865200"/>
                          <a:pt x="3395598" y="1884937"/>
                        </a:cubicBezTo>
                        <a:cubicBezTo>
                          <a:pt x="3395598" y="1898118"/>
                          <a:pt x="3400504" y="1909648"/>
                          <a:pt x="3403757" y="1921183"/>
                        </a:cubicBezTo>
                        <a:cubicBezTo>
                          <a:pt x="3320375" y="1876527"/>
                          <a:pt x="3235444" y="1834223"/>
                          <a:pt x="3149778" y="1793573"/>
                        </a:cubicBezTo>
                        <a:cubicBezTo>
                          <a:pt x="2980614" y="1567631"/>
                          <a:pt x="2804454" y="1362742"/>
                          <a:pt x="2619351" y="1179859"/>
                        </a:cubicBezTo>
                        <a:cubicBezTo>
                          <a:pt x="2753619" y="1021941"/>
                          <a:pt x="2892903" y="871760"/>
                          <a:pt x="3030556" y="734085"/>
                        </a:cubicBezTo>
                        <a:cubicBezTo>
                          <a:pt x="3040441" y="729182"/>
                          <a:pt x="3050069" y="724133"/>
                          <a:pt x="3048173" y="715826"/>
                        </a:cubicBezTo>
                        <a:cubicBezTo>
                          <a:pt x="3126733" y="636926"/>
                          <a:pt x="3204874" y="562436"/>
                          <a:pt x="3281289" y="493209"/>
                        </a:cubicBezTo>
                        <a:cubicBezTo>
                          <a:pt x="3309736" y="518570"/>
                          <a:pt x="3347477" y="532145"/>
                          <a:pt x="3388389" y="532145"/>
                        </a:cubicBezTo>
                        <a:cubicBezTo>
                          <a:pt x="3488339" y="532145"/>
                          <a:pt x="3569364" y="451120"/>
                          <a:pt x="3569364" y="351170"/>
                        </a:cubicBezTo>
                        <a:cubicBezTo>
                          <a:pt x="3569364" y="328760"/>
                          <a:pt x="3565291" y="307301"/>
                          <a:pt x="3557306" y="287696"/>
                        </a:cubicBezTo>
                        <a:close/>
                        <a:moveTo>
                          <a:pt x="3388389" y="244490"/>
                        </a:moveTo>
                        <a:cubicBezTo>
                          <a:pt x="3447307" y="244490"/>
                          <a:pt x="3495069" y="292252"/>
                          <a:pt x="3495069" y="351170"/>
                        </a:cubicBezTo>
                        <a:cubicBezTo>
                          <a:pt x="3495069" y="410088"/>
                          <a:pt x="3447307" y="457850"/>
                          <a:pt x="3388389" y="457850"/>
                        </a:cubicBezTo>
                        <a:cubicBezTo>
                          <a:pt x="3329471" y="457850"/>
                          <a:pt x="3281709" y="410088"/>
                          <a:pt x="3281709" y="351170"/>
                        </a:cubicBezTo>
                        <a:cubicBezTo>
                          <a:pt x="3281709" y="292252"/>
                          <a:pt x="3329471" y="244490"/>
                          <a:pt x="3388389" y="244490"/>
                        </a:cubicBezTo>
                        <a:close/>
                        <a:moveTo>
                          <a:pt x="3158941" y="175915"/>
                        </a:moveTo>
                        <a:lnTo>
                          <a:pt x="3161140" y="176253"/>
                        </a:lnTo>
                        <a:cubicBezTo>
                          <a:pt x="3173468" y="182408"/>
                          <a:pt x="3179977" y="182575"/>
                          <a:pt x="3192664" y="188977"/>
                        </a:cubicBezTo>
                        <a:lnTo>
                          <a:pt x="3207130" y="185048"/>
                        </a:lnTo>
                        <a:lnTo>
                          <a:pt x="3287899" y="204674"/>
                        </a:lnTo>
                        <a:cubicBezTo>
                          <a:pt x="3238540" y="234542"/>
                          <a:pt x="3207414" y="289221"/>
                          <a:pt x="3207414" y="351170"/>
                        </a:cubicBezTo>
                        <a:cubicBezTo>
                          <a:pt x="3207414" y="396588"/>
                          <a:pt x="3224145" y="438098"/>
                          <a:pt x="3253289" y="468561"/>
                        </a:cubicBezTo>
                        <a:lnTo>
                          <a:pt x="3067844" y="641960"/>
                        </a:lnTo>
                        <a:cubicBezTo>
                          <a:pt x="3066253" y="639853"/>
                          <a:pt x="3064319" y="637902"/>
                          <a:pt x="3062385" y="635951"/>
                        </a:cubicBezTo>
                        <a:cubicBezTo>
                          <a:pt x="3062385" y="622804"/>
                          <a:pt x="3062385" y="616232"/>
                          <a:pt x="3068900" y="609658"/>
                        </a:cubicBezTo>
                        <a:cubicBezTo>
                          <a:pt x="3075413" y="596512"/>
                          <a:pt x="3075413" y="576792"/>
                          <a:pt x="3062385" y="563646"/>
                        </a:cubicBezTo>
                        <a:cubicBezTo>
                          <a:pt x="3055872" y="557073"/>
                          <a:pt x="3042844" y="557073"/>
                          <a:pt x="3049357" y="543926"/>
                        </a:cubicBezTo>
                        <a:cubicBezTo>
                          <a:pt x="3068900" y="537353"/>
                          <a:pt x="3094955" y="543926"/>
                          <a:pt x="3107983" y="543926"/>
                        </a:cubicBezTo>
                        <a:cubicBezTo>
                          <a:pt x="3114497" y="537353"/>
                          <a:pt x="3121011" y="537353"/>
                          <a:pt x="3121011" y="530780"/>
                        </a:cubicBezTo>
                        <a:cubicBezTo>
                          <a:pt x="3121011" y="517634"/>
                          <a:pt x="3114497" y="517634"/>
                          <a:pt x="3101469" y="517634"/>
                        </a:cubicBezTo>
                        <a:cubicBezTo>
                          <a:pt x="3094955" y="511062"/>
                          <a:pt x="3075413" y="511062"/>
                          <a:pt x="3068900" y="497915"/>
                        </a:cubicBezTo>
                        <a:lnTo>
                          <a:pt x="3062182" y="486515"/>
                        </a:lnTo>
                        <a:cubicBezTo>
                          <a:pt x="3066456" y="478196"/>
                          <a:pt x="3098212" y="478196"/>
                          <a:pt x="3107983" y="478196"/>
                        </a:cubicBezTo>
                        <a:cubicBezTo>
                          <a:pt x="3114497" y="478196"/>
                          <a:pt x="3140553" y="491342"/>
                          <a:pt x="3140553" y="478196"/>
                        </a:cubicBezTo>
                        <a:cubicBezTo>
                          <a:pt x="3147067" y="465049"/>
                          <a:pt x="3107983" y="465049"/>
                          <a:pt x="3114497" y="445329"/>
                        </a:cubicBezTo>
                        <a:cubicBezTo>
                          <a:pt x="3121011" y="432183"/>
                          <a:pt x="3147067" y="425611"/>
                          <a:pt x="3140553" y="405891"/>
                        </a:cubicBezTo>
                        <a:cubicBezTo>
                          <a:pt x="3127525" y="386171"/>
                          <a:pt x="3094955" y="405891"/>
                          <a:pt x="3088441" y="386171"/>
                        </a:cubicBezTo>
                        <a:cubicBezTo>
                          <a:pt x="3081928" y="366452"/>
                          <a:pt x="3081928" y="346732"/>
                          <a:pt x="3107983" y="353306"/>
                        </a:cubicBezTo>
                        <a:cubicBezTo>
                          <a:pt x="3121011" y="353306"/>
                          <a:pt x="3166608" y="392744"/>
                          <a:pt x="3179636" y="373025"/>
                        </a:cubicBezTo>
                        <a:cubicBezTo>
                          <a:pt x="3192664" y="353306"/>
                          <a:pt x="3166608" y="333587"/>
                          <a:pt x="3153580" y="333587"/>
                        </a:cubicBezTo>
                        <a:cubicBezTo>
                          <a:pt x="3147067" y="333587"/>
                          <a:pt x="3140553" y="333587"/>
                          <a:pt x="3140553" y="327013"/>
                        </a:cubicBezTo>
                        <a:cubicBezTo>
                          <a:pt x="3134039" y="320441"/>
                          <a:pt x="3140553" y="320441"/>
                          <a:pt x="3134039" y="313867"/>
                        </a:cubicBezTo>
                        <a:cubicBezTo>
                          <a:pt x="3134039" y="300721"/>
                          <a:pt x="3114497" y="300721"/>
                          <a:pt x="3114497" y="287574"/>
                        </a:cubicBezTo>
                        <a:cubicBezTo>
                          <a:pt x="3114497" y="274429"/>
                          <a:pt x="3127525" y="267856"/>
                          <a:pt x="3134039" y="267856"/>
                        </a:cubicBezTo>
                        <a:cubicBezTo>
                          <a:pt x="3140553" y="261282"/>
                          <a:pt x="3147067" y="254708"/>
                          <a:pt x="3147067" y="241562"/>
                        </a:cubicBezTo>
                        <a:cubicBezTo>
                          <a:pt x="3153580" y="221843"/>
                          <a:pt x="3153580" y="228416"/>
                          <a:pt x="3166608" y="221843"/>
                        </a:cubicBezTo>
                        <a:cubicBezTo>
                          <a:pt x="3186151" y="215269"/>
                          <a:pt x="3179636" y="202123"/>
                          <a:pt x="3166608" y="188977"/>
                        </a:cubicBezTo>
                        <a:cubicBezTo>
                          <a:pt x="3166475" y="188977"/>
                          <a:pt x="3147067" y="188960"/>
                          <a:pt x="3147067" y="182403"/>
                        </a:cubicBezTo>
                        <a:cubicBezTo>
                          <a:pt x="3140919" y="176200"/>
                          <a:pt x="3152179" y="175851"/>
                          <a:pt x="3158941" y="175915"/>
                        </a:cubicBezTo>
                        <a:close/>
                        <a:moveTo>
                          <a:pt x="2680032" y="66572"/>
                        </a:moveTo>
                        <a:cubicBezTo>
                          <a:pt x="1236658" y="66572"/>
                          <a:pt x="66572" y="1236658"/>
                          <a:pt x="66572" y="2680032"/>
                        </a:cubicBezTo>
                        <a:cubicBezTo>
                          <a:pt x="66572" y="4123405"/>
                          <a:pt x="1236658" y="5293491"/>
                          <a:pt x="2680032" y="5293491"/>
                        </a:cubicBezTo>
                        <a:cubicBezTo>
                          <a:pt x="4123405" y="5293491"/>
                          <a:pt x="5293491" y="4123405"/>
                          <a:pt x="5293491" y="2680032"/>
                        </a:cubicBezTo>
                        <a:cubicBezTo>
                          <a:pt x="5293491" y="1508205"/>
                          <a:pt x="4522256" y="516510"/>
                          <a:pt x="3459646" y="184965"/>
                        </a:cubicBezTo>
                        <a:cubicBezTo>
                          <a:pt x="3445024" y="178486"/>
                          <a:pt x="3429326" y="174068"/>
                          <a:pt x="3412820" y="172658"/>
                        </a:cubicBezTo>
                        <a:cubicBezTo>
                          <a:pt x="3180691" y="102972"/>
                          <a:pt x="2934612" y="66572"/>
                          <a:pt x="2680032" y="66572"/>
                        </a:cubicBezTo>
                        <a:close/>
                        <a:moveTo>
                          <a:pt x="2680032" y="0"/>
                        </a:moveTo>
                        <a:cubicBezTo>
                          <a:pt x="4160172" y="0"/>
                          <a:pt x="5360063" y="1199890"/>
                          <a:pt x="5360063" y="2680032"/>
                        </a:cubicBezTo>
                        <a:cubicBezTo>
                          <a:pt x="5360063" y="4160172"/>
                          <a:pt x="4160172" y="5360063"/>
                          <a:pt x="2680032" y="5360063"/>
                        </a:cubicBezTo>
                        <a:cubicBezTo>
                          <a:pt x="1199890" y="5360063"/>
                          <a:pt x="0" y="4160172"/>
                          <a:pt x="0" y="2680032"/>
                        </a:cubicBezTo>
                        <a:cubicBezTo>
                          <a:pt x="0" y="1199890"/>
                          <a:pt x="1199890" y="0"/>
                          <a:pt x="268003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25" tIns="89625" rIns="89625" bIns="89625"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176" dirty="0">
                      <a:solidFill>
                        <a:srgbClr val="FFFFFF"/>
                      </a:solidFill>
                    </a:endParaRPr>
                  </a:p>
                </p:txBody>
              </p:sp>
            </p:grpSp>
            <p:grpSp>
              <p:nvGrpSpPr>
                <p:cNvPr id="180" name="Group 179"/>
                <p:cNvGrpSpPr/>
                <p:nvPr/>
              </p:nvGrpSpPr>
              <p:grpSpPr>
                <a:xfrm>
                  <a:off x="-1741957" y="3744589"/>
                  <a:ext cx="868680" cy="685800"/>
                  <a:chOff x="-1741957" y="3744589"/>
                  <a:chExt cx="868680" cy="685800"/>
                </a:xfrm>
              </p:grpSpPr>
              <p:sp>
                <p:nvSpPr>
                  <p:cNvPr id="184" name="Rectangle 183"/>
                  <p:cNvSpPr/>
                  <p:nvPr/>
                </p:nvSpPr>
                <p:spPr bwMode="auto">
                  <a:xfrm>
                    <a:off x="-1741957" y="3744589"/>
                    <a:ext cx="868680" cy="685800"/>
                  </a:xfrm>
                  <a:prstGeom prst="rect">
                    <a:avLst/>
                  </a:prstGeom>
                  <a:solidFill>
                    <a:srgbClr val="7F7F7F">
                      <a:alpha val="1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a:solidFill>
                          <a:srgbClr val="FFFFFF"/>
                        </a:solidFill>
                      </a:rPr>
                      <a:t>Cloud services</a:t>
                    </a:r>
                  </a:p>
                </p:txBody>
              </p:sp>
              <p:sp>
                <p:nvSpPr>
                  <p:cNvPr id="185" name="Freeform 184"/>
                  <p:cNvSpPr/>
                  <p:nvPr/>
                </p:nvSpPr>
                <p:spPr bwMode="auto">
                  <a:xfrm>
                    <a:off x="-1593165" y="3818577"/>
                    <a:ext cx="571096" cy="372834"/>
                  </a:xfrm>
                  <a:custGeom>
                    <a:avLst/>
                    <a:gdLst/>
                    <a:ahLst/>
                    <a:cxnLst/>
                    <a:rect l="l" t="t" r="r" b="b"/>
                    <a:pathLst>
                      <a:path w="701119" h="457720">
                        <a:moveTo>
                          <a:pt x="287371" y="256623"/>
                        </a:moveTo>
                        <a:cubicBezTo>
                          <a:pt x="292345" y="258581"/>
                          <a:pt x="296573" y="262436"/>
                          <a:pt x="298874" y="267725"/>
                        </a:cubicBezTo>
                        <a:cubicBezTo>
                          <a:pt x="303477" y="278303"/>
                          <a:pt x="298633" y="290609"/>
                          <a:pt x="288055" y="295212"/>
                        </a:cubicBezTo>
                        <a:cubicBezTo>
                          <a:pt x="277477" y="299814"/>
                          <a:pt x="265171" y="294971"/>
                          <a:pt x="260568" y="284393"/>
                        </a:cubicBezTo>
                        <a:cubicBezTo>
                          <a:pt x="255966" y="273815"/>
                          <a:pt x="260809" y="261509"/>
                          <a:pt x="271387" y="256906"/>
                        </a:cubicBezTo>
                        <a:cubicBezTo>
                          <a:pt x="276676" y="254605"/>
                          <a:pt x="282397" y="254665"/>
                          <a:pt x="287371" y="256623"/>
                        </a:cubicBezTo>
                        <a:close/>
                        <a:moveTo>
                          <a:pt x="291945" y="245002"/>
                        </a:moveTo>
                        <a:cubicBezTo>
                          <a:pt x="283997" y="241874"/>
                          <a:pt x="274855" y="241777"/>
                          <a:pt x="266404" y="245455"/>
                        </a:cubicBezTo>
                        <a:cubicBezTo>
                          <a:pt x="249502" y="252810"/>
                          <a:pt x="241762" y="272474"/>
                          <a:pt x="249116" y="289376"/>
                        </a:cubicBezTo>
                        <a:cubicBezTo>
                          <a:pt x="256471" y="306278"/>
                          <a:pt x="276135" y="314018"/>
                          <a:pt x="293038" y="306663"/>
                        </a:cubicBezTo>
                        <a:cubicBezTo>
                          <a:pt x="309940" y="299309"/>
                          <a:pt x="317680" y="279645"/>
                          <a:pt x="310326" y="262742"/>
                        </a:cubicBezTo>
                        <a:cubicBezTo>
                          <a:pt x="306648" y="254291"/>
                          <a:pt x="299894" y="248130"/>
                          <a:pt x="291945" y="245002"/>
                        </a:cubicBezTo>
                        <a:close/>
                        <a:moveTo>
                          <a:pt x="279227" y="229935"/>
                        </a:moveTo>
                        <a:cubicBezTo>
                          <a:pt x="297197" y="229750"/>
                          <a:pt x="314385" y="240144"/>
                          <a:pt x="322007" y="257659"/>
                        </a:cubicBezTo>
                        <a:cubicBezTo>
                          <a:pt x="332168" y="281013"/>
                          <a:pt x="321474" y="308182"/>
                          <a:pt x="298121" y="318344"/>
                        </a:cubicBezTo>
                        <a:cubicBezTo>
                          <a:pt x="274767" y="328506"/>
                          <a:pt x="247597" y="317812"/>
                          <a:pt x="237436" y="294459"/>
                        </a:cubicBezTo>
                        <a:cubicBezTo>
                          <a:pt x="227274" y="271105"/>
                          <a:pt x="237968" y="243936"/>
                          <a:pt x="261322" y="233774"/>
                        </a:cubicBezTo>
                        <a:cubicBezTo>
                          <a:pt x="267160" y="231233"/>
                          <a:pt x="273237" y="229996"/>
                          <a:pt x="279227" y="229935"/>
                        </a:cubicBezTo>
                        <a:close/>
                        <a:moveTo>
                          <a:pt x="290710" y="195176"/>
                        </a:moveTo>
                        <a:cubicBezTo>
                          <a:pt x="282941" y="193957"/>
                          <a:pt x="274954" y="193935"/>
                          <a:pt x="267011" y="195270"/>
                        </a:cubicBezTo>
                        <a:cubicBezTo>
                          <a:pt x="270246" y="205204"/>
                          <a:pt x="265310" y="216061"/>
                          <a:pt x="255476" y="220340"/>
                        </a:cubicBezTo>
                        <a:cubicBezTo>
                          <a:pt x="245698" y="224595"/>
                          <a:pt x="234460" y="220872"/>
                          <a:pt x="229368" y="211834"/>
                        </a:cubicBezTo>
                        <a:cubicBezTo>
                          <a:pt x="223044" y="216699"/>
                          <a:pt x="217573" y="222407"/>
                          <a:pt x="213211" y="228842"/>
                        </a:cubicBezTo>
                        <a:cubicBezTo>
                          <a:pt x="222456" y="233506"/>
                          <a:pt x="226692" y="244536"/>
                          <a:pt x="222913" y="254492"/>
                        </a:cubicBezTo>
                        <a:cubicBezTo>
                          <a:pt x="219105" y="264523"/>
                          <a:pt x="208484" y="269971"/>
                          <a:pt x="198403" y="267204"/>
                        </a:cubicBezTo>
                        <a:cubicBezTo>
                          <a:pt x="197563" y="274300"/>
                          <a:pt x="197680" y="281555"/>
                          <a:pt x="198909" y="288771"/>
                        </a:cubicBezTo>
                        <a:cubicBezTo>
                          <a:pt x="208849" y="285524"/>
                          <a:pt x="219721" y="290459"/>
                          <a:pt x="224003" y="300301"/>
                        </a:cubicBezTo>
                        <a:cubicBezTo>
                          <a:pt x="228258" y="310079"/>
                          <a:pt x="224535" y="321317"/>
                          <a:pt x="215497" y="326409"/>
                        </a:cubicBezTo>
                        <a:cubicBezTo>
                          <a:pt x="219906" y="332139"/>
                          <a:pt x="225006" y="337169"/>
                          <a:pt x="230785" y="341220"/>
                        </a:cubicBezTo>
                        <a:cubicBezTo>
                          <a:pt x="235707" y="332144"/>
                          <a:pt x="246817" y="328233"/>
                          <a:pt x="256644" y="332267"/>
                        </a:cubicBezTo>
                        <a:cubicBezTo>
                          <a:pt x="266533" y="336327"/>
                          <a:pt x="271693" y="347023"/>
                          <a:pt x="268719" y="356994"/>
                        </a:cubicBezTo>
                        <a:cubicBezTo>
                          <a:pt x="276490" y="358184"/>
                          <a:pt x="284482" y="358192"/>
                          <a:pt x="292430" y="356849"/>
                        </a:cubicBezTo>
                        <a:cubicBezTo>
                          <a:pt x="289193" y="346914"/>
                          <a:pt x="294129" y="336053"/>
                          <a:pt x="303964" y="331773"/>
                        </a:cubicBezTo>
                        <a:cubicBezTo>
                          <a:pt x="313742" y="327518"/>
                          <a:pt x="324980" y="331241"/>
                          <a:pt x="330072" y="340279"/>
                        </a:cubicBezTo>
                        <a:cubicBezTo>
                          <a:pt x="336396" y="335414"/>
                          <a:pt x="341867" y="329706"/>
                          <a:pt x="346229" y="323272"/>
                        </a:cubicBezTo>
                        <a:cubicBezTo>
                          <a:pt x="336984" y="318607"/>
                          <a:pt x="332748" y="307577"/>
                          <a:pt x="336527" y="297622"/>
                        </a:cubicBezTo>
                        <a:cubicBezTo>
                          <a:pt x="340335" y="287590"/>
                          <a:pt x="350956" y="282143"/>
                          <a:pt x="361037" y="284910"/>
                        </a:cubicBezTo>
                        <a:cubicBezTo>
                          <a:pt x="361877" y="277814"/>
                          <a:pt x="361760" y="270558"/>
                          <a:pt x="360531" y="263342"/>
                        </a:cubicBezTo>
                        <a:cubicBezTo>
                          <a:pt x="350591" y="266590"/>
                          <a:pt x="339719" y="261654"/>
                          <a:pt x="335437" y="251813"/>
                        </a:cubicBezTo>
                        <a:cubicBezTo>
                          <a:pt x="331157" y="241976"/>
                          <a:pt x="334950" y="230663"/>
                          <a:pt x="344093" y="225600"/>
                        </a:cubicBezTo>
                        <a:cubicBezTo>
                          <a:pt x="339668" y="219877"/>
                          <a:pt x="334461" y="214942"/>
                          <a:pt x="328685" y="210850"/>
                        </a:cubicBezTo>
                        <a:cubicBezTo>
                          <a:pt x="323772" y="219956"/>
                          <a:pt x="312640" y="223888"/>
                          <a:pt x="302796" y="219846"/>
                        </a:cubicBezTo>
                        <a:cubicBezTo>
                          <a:pt x="292926" y="215794"/>
                          <a:pt x="287766" y="205130"/>
                          <a:pt x="290710" y="195176"/>
                        </a:cubicBezTo>
                        <a:close/>
                        <a:moveTo>
                          <a:pt x="428991" y="152455"/>
                        </a:moveTo>
                        <a:cubicBezTo>
                          <a:pt x="433965" y="154413"/>
                          <a:pt x="438193" y="158268"/>
                          <a:pt x="440494" y="163557"/>
                        </a:cubicBezTo>
                        <a:cubicBezTo>
                          <a:pt x="445097" y="174135"/>
                          <a:pt x="440253" y="186441"/>
                          <a:pt x="429675" y="191044"/>
                        </a:cubicBezTo>
                        <a:cubicBezTo>
                          <a:pt x="419097" y="195646"/>
                          <a:pt x="406791" y="190803"/>
                          <a:pt x="402188" y="180225"/>
                        </a:cubicBezTo>
                        <a:cubicBezTo>
                          <a:pt x="397586" y="169647"/>
                          <a:pt x="402429" y="157341"/>
                          <a:pt x="413007" y="152738"/>
                        </a:cubicBezTo>
                        <a:cubicBezTo>
                          <a:pt x="418296" y="150437"/>
                          <a:pt x="424017" y="150497"/>
                          <a:pt x="428991" y="152455"/>
                        </a:cubicBezTo>
                        <a:close/>
                        <a:moveTo>
                          <a:pt x="433565" y="140834"/>
                        </a:moveTo>
                        <a:cubicBezTo>
                          <a:pt x="425617" y="137706"/>
                          <a:pt x="416475" y="137609"/>
                          <a:pt x="408024" y="141287"/>
                        </a:cubicBezTo>
                        <a:cubicBezTo>
                          <a:pt x="391122" y="148642"/>
                          <a:pt x="383382" y="168306"/>
                          <a:pt x="390736" y="185208"/>
                        </a:cubicBezTo>
                        <a:cubicBezTo>
                          <a:pt x="398091" y="202110"/>
                          <a:pt x="417755" y="209850"/>
                          <a:pt x="434658" y="202495"/>
                        </a:cubicBezTo>
                        <a:cubicBezTo>
                          <a:pt x="451560" y="195141"/>
                          <a:pt x="459300" y="175477"/>
                          <a:pt x="451946" y="158574"/>
                        </a:cubicBezTo>
                        <a:cubicBezTo>
                          <a:pt x="448268" y="150123"/>
                          <a:pt x="441514" y="143962"/>
                          <a:pt x="433565" y="140834"/>
                        </a:cubicBezTo>
                        <a:close/>
                        <a:moveTo>
                          <a:pt x="420847" y="125767"/>
                        </a:moveTo>
                        <a:cubicBezTo>
                          <a:pt x="438817" y="125582"/>
                          <a:pt x="456005" y="135976"/>
                          <a:pt x="463627" y="153491"/>
                        </a:cubicBezTo>
                        <a:cubicBezTo>
                          <a:pt x="473788" y="176845"/>
                          <a:pt x="463094" y="204014"/>
                          <a:pt x="439741" y="214176"/>
                        </a:cubicBezTo>
                        <a:cubicBezTo>
                          <a:pt x="416387" y="224338"/>
                          <a:pt x="389217" y="213644"/>
                          <a:pt x="379056" y="190291"/>
                        </a:cubicBezTo>
                        <a:cubicBezTo>
                          <a:pt x="368894" y="166937"/>
                          <a:pt x="379588" y="139768"/>
                          <a:pt x="402942" y="129606"/>
                        </a:cubicBezTo>
                        <a:cubicBezTo>
                          <a:pt x="408780" y="127065"/>
                          <a:pt x="414857" y="125828"/>
                          <a:pt x="420847" y="125767"/>
                        </a:cubicBezTo>
                        <a:close/>
                        <a:moveTo>
                          <a:pt x="432330" y="91008"/>
                        </a:moveTo>
                        <a:cubicBezTo>
                          <a:pt x="424561" y="89789"/>
                          <a:pt x="416574" y="89767"/>
                          <a:pt x="408631" y="91102"/>
                        </a:cubicBezTo>
                        <a:cubicBezTo>
                          <a:pt x="411866" y="101036"/>
                          <a:pt x="406930" y="111893"/>
                          <a:pt x="397096" y="116172"/>
                        </a:cubicBezTo>
                        <a:cubicBezTo>
                          <a:pt x="387318" y="120427"/>
                          <a:pt x="376080" y="116704"/>
                          <a:pt x="370988" y="107666"/>
                        </a:cubicBezTo>
                        <a:cubicBezTo>
                          <a:pt x="364664" y="112531"/>
                          <a:pt x="359193" y="118239"/>
                          <a:pt x="354831" y="124674"/>
                        </a:cubicBezTo>
                        <a:cubicBezTo>
                          <a:pt x="364076" y="129338"/>
                          <a:pt x="368312" y="140368"/>
                          <a:pt x="364533" y="150324"/>
                        </a:cubicBezTo>
                        <a:cubicBezTo>
                          <a:pt x="360725" y="160355"/>
                          <a:pt x="350104" y="165803"/>
                          <a:pt x="340023" y="163036"/>
                        </a:cubicBezTo>
                        <a:cubicBezTo>
                          <a:pt x="339183" y="170132"/>
                          <a:pt x="339300" y="177387"/>
                          <a:pt x="340529" y="184603"/>
                        </a:cubicBezTo>
                        <a:cubicBezTo>
                          <a:pt x="350469" y="181356"/>
                          <a:pt x="361341" y="186291"/>
                          <a:pt x="365623" y="196133"/>
                        </a:cubicBezTo>
                        <a:cubicBezTo>
                          <a:pt x="369878" y="205911"/>
                          <a:pt x="366155" y="217149"/>
                          <a:pt x="357117" y="222241"/>
                        </a:cubicBezTo>
                        <a:cubicBezTo>
                          <a:pt x="361526" y="227971"/>
                          <a:pt x="366626" y="233001"/>
                          <a:pt x="372405" y="237052"/>
                        </a:cubicBezTo>
                        <a:cubicBezTo>
                          <a:pt x="377327" y="227976"/>
                          <a:pt x="388437" y="224065"/>
                          <a:pt x="398264" y="228099"/>
                        </a:cubicBezTo>
                        <a:cubicBezTo>
                          <a:pt x="408153" y="232159"/>
                          <a:pt x="413313" y="242855"/>
                          <a:pt x="410339" y="252826"/>
                        </a:cubicBezTo>
                        <a:cubicBezTo>
                          <a:pt x="418110" y="254016"/>
                          <a:pt x="426102" y="254024"/>
                          <a:pt x="434050" y="252681"/>
                        </a:cubicBezTo>
                        <a:cubicBezTo>
                          <a:pt x="430813" y="242746"/>
                          <a:pt x="435749" y="231885"/>
                          <a:pt x="445584" y="227605"/>
                        </a:cubicBezTo>
                        <a:cubicBezTo>
                          <a:pt x="455362" y="223350"/>
                          <a:pt x="466600" y="227073"/>
                          <a:pt x="471692" y="236111"/>
                        </a:cubicBezTo>
                        <a:cubicBezTo>
                          <a:pt x="478016" y="231246"/>
                          <a:pt x="483487" y="225538"/>
                          <a:pt x="487849" y="219104"/>
                        </a:cubicBezTo>
                        <a:cubicBezTo>
                          <a:pt x="478604" y="214439"/>
                          <a:pt x="474368" y="203409"/>
                          <a:pt x="478147" y="193454"/>
                        </a:cubicBezTo>
                        <a:cubicBezTo>
                          <a:pt x="481955" y="183422"/>
                          <a:pt x="492576" y="177975"/>
                          <a:pt x="502657" y="180742"/>
                        </a:cubicBezTo>
                        <a:cubicBezTo>
                          <a:pt x="503497" y="173646"/>
                          <a:pt x="503380" y="166390"/>
                          <a:pt x="502151" y="159174"/>
                        </a:cubicBezTo>
                        <a:cubicBezTo>
                          <a:pt x="492211" y="162422"/>
                          <a:pt x="481339" y="157486"/>
                          <a:pt x="477057" y="147645"/>
                        </a:cubicBezTo>
                        <a:cubicBezTo>
                          <a:pt x="472777" y="137808"/>
                          <a:pt x="476570" y="126495"/>
                          <a:pt x="485713" y="121432"/>
                        </a:cubicBezTo>
                        <a:cubicBezTo>
                          <a:pt x="481288" y="115709"/>
                          <a:pt x="476081" y="110774"/>
                          <a:pt x="470305" y="106682"/>
                        </a:cubicBezTo>
                        <a:cubicBezTo>
                          <a:pt x="465392" y="115788"/>
                          <a:pt x="454260" y="119720"/>
                          <a:pt x="444416" y="115678"/>
                        </a:cubicBezTo>
                        <a:cubicBezTo>
                          <a:pt x="434546" y="111626"/>
                          <a:pt x="429386" y="100962"/>
                          <a:pt x="432330" y="91008"/>
                        </a:cubicBezTo>
                        <a:close/>
                        <a:moveTo>
                          <a:pt x="420686" y="0"/>
                        </a:moveTo>
                        <a:cubicBezTo>
                          <a:pt x="510403" y="22"/>
                          <a:pt x="596693" y="74051"/>
                          <a:pt x="587802" y="178731"/>
                        </a:cubicBezTo>
                        <a:cubicBezTo>
                          <a:pt x="725463" y="140645"/>
                          <a:pt x="750242" y="358608"/>
                          <a:pt x="591932" y="341171"/>
                        </a:cubicBezTo>
                        <a:cubicBezTo>
                          <a:pt x="582296" y="379257"/>
                          <a:pt x="542374" y="415967"/>
                          <a:pt x="488686" y="381093"/>
                        </a:cubicBezTo>
                        <a:cubicBezTo>
                          <a:pt x="471708" y="425144"/>
                          <a:pt x="414808" y="477456"/>
                          <a:pt x="342765" y="410002"/>
                        </a:cubicBezTo>
                        <a:cubicBezTo>
                          <a:pt x="314315" y="461395"/>
                          <a:pt x="167476" y="503152"/>
                          <a:pt x="125260" y="357690"/>
                        </a:cubicBezTo>
                        <a:cubicBezTo>
                          <a:pt x="-7812" y="415508"/>
                          <a:pt x="-61042" y="191120"/>
                          <a:pt x="97728" y="192497"/>
                        </a:cubicBezTo>
                        <a:cubicBezTo>
                          <a:pt x="55053" y="120913"/>
                          <a:pt x="169312" y="-12618"/>
                          <a:pt x="275311" y="89251"/>
                        </a:cubicBezTo>
                        <a:cubicBezTo>
                          <a:pt x="311791" y="26615"/>
                          <a:pt x="366856" y="-14"/>
                          <a:pt x="42068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25" tIns="44812" rIns="44812" bIns="89625"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59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81" name="Group 180"/>
                <p:cNvGrpSpPr/>
                <p:nvPr/>
              </p:nvGrpSpPr>
              <p:grpSpPr>
                <a:xfrm>
                  <a:off x="-836697" y="3744589"/>
                  <a:ext cx="868680" cy="685800"/>
                  <a:chOff x="-836697" y="3744589"/>
                  <a:chExt cx="868680" cy="685800"/>
                </a:xfrm>
              </p:grpSpPr>
              <p:sp>
                <p:nvSpPr>
                  <p:cNvPr id="182" name="Rectangle 181"/>
                  <p:cNvSpPr/>
                  <p:nvPr/>
                </p:nvSpPr>
                <p:spPr bwMode="auto">
                  <a:xfrm>
                    <a:off x="-836697" y="3744589"/>
                    <a:ext cx="868680" cy="685800"/>
                  </a:xfrm>
                  <a:prstGeom prst="rect">
                    <a:avLst/>
                  </a:prstGeom>
                  <a:solidFill>
                    <a:srgbClr val="7F7F7F">
                      <a:alpha val="1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a:solidFill>
                          <a:srgbClr val="FFFFFF"/>
                        </a:solidFill>
                      </a:rPr>
                      <a:t>Mobile services</a:t>
                    </a:r>
                  </a:p>
                </p:txBody>
              </p:sp>
              <p:sp>
                <p:nvSpPr>
                  <p:cNvPr id="183" name="Rounded Rectangle 68"/>
                  <p:cNvSpPr/>
                  <p:nvPr/>
                </p:nvSpPr>
                <p:spPr>
                  <a:xfrm>
                    <a:off x="-503322" y="3803720"/>
                    <a:ext cx="201930" cy="402548"/>
                  </a:xfrm>
                  <a:custGeom>
                    <a:avLst/>
                    <a:gdLst/>
                    <a:ahLst/>
                    <a:cxnLst/>
                    <a:rect l="l" t="t" r="r" b="b"/>
                    <a:pathLst>
                      <a:path w="736663" h="1468542">
                        <a:moveTo>
                          <a:pt x="127441" y="1331784"/>
                        </a:moveTo>
                        <a:lnTo>
                          <a:pt x="127441" y="1333372"/>
                        </a:lnTo>
                        <a:lnTo>
                          <a:pt x="126399" y="1332578"/>
                        </a:lnTo>
                        <a:close/>
                        <a:moveTo>
                          <a:pt x="369735" y="1314798"/>
                        </a:moveTo>
                        <a:lnTo>
                          <a:pt x="357710" y="1354631"/>
                        </a:lnTo>
                        <a:cubicBezTo>
                          <a:pt x="363388" y="1358973"/>
                          <a:pt x="380090" y="1370330"/>
                          <a:pt x="405310" y="1358639"/>
                        </a:cubicBezTo>
                        <a:lnTo>
                          <a:pt x="417335" y="1317052"/>
                        </a:lnTo>
                        <a:cubicBezTo>
                          <a:pt x="391197" y="1326823"/>
                          <a:pt x="381844" y="1320309"/>
                          <a:pt x="369735" y="1314798"/>
                        </a:cubicBezTo>
                        <a:close/>
                        <a:moveTo>
                          <a:pt x="140687" y="1309718"/>
                        </a:moveTo>
                        <a:lnTo>
                          <a:pt x="110683" y="1332578"/>
                        </a:lnTo>
                        <a:lnTo>
                          <a:pt x="140687" y="1355438"/>
                        </a:lnTo>
                        <a:lnTo>
                          <a:pt x="156403" y="1355438"/>
                        </a:lnTo>
                        <a:lnTo>
                          <a:pt x="133275" y="1337817"/>
                        </a:lnTo>
                        <a:lnTo>
                          <a:pt x="218881" y="1337817"/>
                        </a:lnTo>
                        <a:lnTo>
                          <a:pt x="218881" y="1328673"/>
                        </a:lnTo>
                        <a:lnTo>
                          <a:pt x="131524" y="1328673"/>
                        </a:lnTo>
                        <a:lnTo>
                          <a:pt x="156403" y="1309718"/>
                        </a:lnTo>
                        <a:close/>
                        <a:moveTo>
                          <a:pt x="341326" y="1303311"/>
                        </a:moveTo>
                        <a:cubicBezTo>
                          <a:pt x="330365" y="1302817"/>
                          <a:pt x="321446" y="1307351"/>
                          <a:pt x="317323" y="1308656"/>
                        </a:cubicBezTo>
                        <a:lnTo>
                          <a:pt x="305799" y="1349742"/>
                        </a:lnTo>
                        <a:cubicBezTo>
                          <a:pt x="332438" y="1338385"/>
                          <a:pt x="344297" y="1348072"/>
                          <a:pt x="350393" y="1351996"/>
                        </a:cubicBezTo>
                        <a:lnTo>
                          <a:pt x="362668" y="1311412"/>
                        </a:lnTo>
                        <a:cubicBezTo>
                          <a:pt x="355215" y="1305713"/>
                          <a:pt x="347903" y="1303607"/>
                          <a:pt x="341326" y="1303311"/>
                        </a:cubicBezTo>
                        <a:close/>
                        <a:moveTo>
                          <a:pt x="609845" y="1293468"/>
                        </a:moveTo>
                        <a:cubicBezTo>
                          <a:pt x="615874" y="1293468"/>
                          <a:pt x="620761" y="1298355"/>
                          <a:pt x="620761" y="1304384"/>
                        </a:cubicBezTo>
                        <a:cubicBezTo>
                          <a:pt x="620761" y="1310412"/>
                          <a:pt x="615874" y="1315299"/>
                          <a:pt x="609845" y="1315299"/>
                        </a:cubicBezTo>
                        <a:cubicBezTo>
                          <a:pt x="603816" y="1315299"/>
                          <a:pt x="598929" y="1310412"/>
                          <a:pt x="598929" y="1304384"/>
                        </a:cubicBezTo>
                        <a:cubicBezTo>
                          <a:pt x="598929" y="1298355"/>
                          <a:pt x="603816" y="1293468"/>
                          <a:pt x="609845" y="1293468"/>
                        </a:cubicBezTo>
                        <a:close/>
                        <a:moveTo>
                          <a:pt x="609845" y="1272471"/>
                        </a:moveTo>
                        <a:cubicBezTo>
                          <a:pt x="592965" y="1272471"/>
                          <a:pt x="579282" y="1286759"/>
                          <a:pt x="579282" y="1304384"/>
                        </a:cubicBezTo>
                        <a:cubicBezTo>
                          <a:pt x="579282" y="1307127"/>
                          <a:pt x="579613" y="1309790"/>
                          <a:pt x="580345" y="1312304"/>
                        </a:cubicBezTo>
                        <a:lnTo>
                          <a:pt x="545743" y="1335166"/>
                        </a:lnTo>
                        <a:cubicBezTo>
                          <a:pt x="543087" y="1336921"/>
                          <a:pt x="542356" y="1340498"/>
                          <a:pt x="544112" y="1343154"/>
                        </a:cubicBezTo>
                        <a:lnTo>
                          <a:pt x="547808" y="1348749"/>
                        </a:lnTo>
                        <a:cubicBezTo>
                          <a:pt x="549564" y="1351406"/>
                          <a:pt x="553140" y="1352136"/>
                          <a:pt x="555796" y="1350381"/>
                        </a:cubicBezTo>
                        <a:lnTo>
                          <a:pt x="589546" y="1328081"/>
                        </a:lnTo>
                        <a:cubicBezTo>
                          <a:pt x="594873" y="1333223"/>
                          <a:pt x="602015" y="1336297"/>
                          <a:pt x="609845" y="1336297"/>
                        </a:cubicBezTo>
                        <a:cubicBezTo>
                          <a:pt x="626724" y="1336297"/>
                          <a:pt x="640408" y="1322009"/>
                          <a:pt x="640408" y="1304384"/>
                        </a:cubicBezTo>
                        <a:cubicBezTo>
                          <a:pt x="640408" y="1286759"/>
                          <a:pt x="626724" y="1272471"/>
                          <a:pt x="609845" y="1272471"/>
                        </a:cubicBezTo>
                        <a:close/>
                        <a:moveTo>
                          <a:pt x="383263" y="1263939"/>
                        </a:moveTo>
                        <a:lnTo>
                          <a:pt x="371238" y="1303772"/>
                        </a:lnTo>
                        <a:cubicBezTo>
                          <a:pt x="376917" y="1308115"/>
                          <a:pt x="393618" y="1319472"/>
                          <a:pt x="418838" y="1307781"/>
                        </a:cubicBezTo>
                        <a:lnTo>
                          <a:pt x="430863" y="1266194"/>
                        </a:lnTo>
                        <a:cubicBezTo>
                          <a:pt x="404725" y="1275964"/>
                          <a:pt x="395372" y="1269451"/>
                          <a:pt x="383263" y="1263939"/>
                        </a:cubicBezTo>
                        <a:close/>
                        <a:moveTo>
                          <a:pt x="354354" y="1252330"/>
                        </a:moveTo>
                        <a:cubicBezTo>
                          <a:pt x="343392" y="1251837"/>
                          <a:pt x="334474" y="1256371"/>
                          <a:pt x="330351" y="1257676"/>
                        </a:cubicBezTo>
                        <a:lnTo>
                          <a:pt x="318826" y="1298762"/>
                        </a:lnTo>
                        <a:cubicBezTo>
                          <a:pt x="345466" y="1287405"/>
                          <a:pt x="357324" y="1297092"/>
                          <a:pt x="363420" y="1301016"/>
                        </a:cubicBezTo>
                        <a:lnTo>
                          <a:pt x="375696" y="1260432"/>
                        </a:lnTo>
                        <a:cubicBezTo>
                          <a:pt x="368242" y="1254732"/>
                          <a:pt x="360930" y="1252626"/>
                          <a:pt x="354354" y="1252330"/>
                        </a:cubicBezTo>
                        <a:close/>
                        <a:moveTo>
                          <a:pt x="91262" y="129693"/>
                        </a:moveTo>
                        <a:lnTo>
                          <a:pt x="91262" y="1125642"/>
                        </a:lnTo>
                        <a:lnTo>
                          <a:pt x="645400" y="1125642"/>
                        </a:lnTo>
                        <a:lnTo>
                          <a:pt x="645400" y="129693"/>
                        </a:lnTo>
                        <a:close/>
                        <a:moveTo>
                          <a:pt x="46579" y="0"/>
                        </a:moveTo>
                        <a:lnTo>
                          <a:pt x="690084" y="0"/>
                        </a:lnTo>
                        <a:cubicBezTo>
                          <a:pt x="715809" y="0"/>
                          <a:pt x="736663" y="20854"/>
                          <a:pt x="736663" y="46579"/>
                        </a:cubicBezTo>
                        <a:lnTo>
                          <a:pt x="736663" y="1421963"/>
                        </a:lnTo>
                        <a:cubicBezTo>
                          <a:pt x="736663" y="1447688"/>
                          <a:pt x="715809" y="1468542"/>
                          <a:pt x="690084" y="1468542"/>
                        </a:cubicBezTo>
                        <a:lnTo>
                          <a:pt x="46579" y="1468542"/>
                        </a:lnTo>
                        <a:cubicBezTo>
                          <a:pt x="20854" y="1468542"/>
                          <a:pt x="0" y="1447688"/>
                          <a:pt x="0" y="1421963"/>
                        </a:cubicBezTo>
                        <a:lnTo>
                          <a:pt x="0" y="46579"/>
                        </a:lnTo>
                        <a:cubicBezTo>
                          <a:pt x="0" y="20854"/>
                          <a:pt x="20854" y="0"/>
                          <a:pt x="465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dirty="0">
                      <a:solidFill>
                        <a:srgbClr val="FFFFFF"/>
                      </a:solidFill>
                    </a:endParaRPr>
                  </a:p>
                </p:txBody>
              </p:sp>
            </p:grpSp>
          </p:grpSp>
        </p:grpSp>
        <p:sp>
          <p:nvSpPr>
            <p:cNvPr id="90" name="Rectangle 89"/>
            <p:cNvSpPr/>
            <p:nvPr/>
          </p:nvSpPr>
          <p:spPr bwMode="auto">
            <a:xfrm>
              <a:off x="9591673" y="3243192"/>
              <a:ext cx="3968425" cy="862398"/>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12" tIns="44812" rIns="44812" bIns="44812" numCol="1" rtlCol="0" anchor="b" anchorCtr="0" compatLnSpc="1">
              <a:prstTxWarp prst="textNoShape">
                <a:avLst/>
              </a:prstTxWarp>
            </a:bodyPr>
            <a:lstStyle/>
            <a:p>
              <a:pPr algn="ctr" defTabSz="913731" fontAlgn="base">
                <a:spcBef>
                  <a:spcPct val="0"/>
                </a:spcBef>
                <a:spcAft>
                  <a:spcPct val="0"/>
                </a:spcAft>
              </a:pPr>
              <a:endParaRPr lang="en-US" sz="882" dirty="0">
                <a:solidFill>
                  <a:srgbClr val="FFFFFF"/>
                </a:solidFill>
              </a:endParaRPr>
            </a:p>
          </p:txBody>
        </p:sp>
        <p:grpSp>
          <p:nvGrpSpPr>
            <p:cNvPr id="91" name="Group 90"/>
            <p:cNvGrpSpPr/>
            <p:nvPr/>
          </p:nvGrpSpPr>
          <p:grpSpPr>
            <a:xfrm>
              <a:off x="9591673" y="4166361"/>
              <a:ext cx="3968425" cy="1785567"/>
              <a:chOff x="1323015" y="4465199"/>
              <a:chExt cx="3968425" cy="1785567"/>
            </a:xfrm>
          </p:grpSpPr>
          <p:grpSp>
            <p:nvGrpSpPr>
              <p:cNvPr id="95" name="Group 94"/>
              <p:cNvGrpSpPr/>
              <p:nvPr/>
            </p:nvGrpSpPr>
            <p:grpSpPr>
              <a:xfrm>
                <a:off x="1323015" y="4465199"/>
                <a:ext cx="3968425" cy="1785567"/>
                <a:chOff x="554883" y="1913315"/>
                <a:chExt cx="3702792" cy="1666047"/>
              </a:xfrm>
            </p:grpSpPr>
            <p:sp>
              <p:nvSpPr>
                <p:cNvPr id="156" name="Rectangle 155"/>
                <p:cNvSpPr/>
                <p:nvPr/>
              </p:nvSpPr>
              <p:spPr bwMode="auto">
                <a:xfrm>
                  <a:off x="554883" y="1913315"/>
                  <a:ext cx="3702792" cy="804672"/>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12" tIns="44812" rIns="44812" bIns="44812" numCol="1" rtlCol="0" anchor="b" anchorCtr="0" compatLnSpc="1">
                  <a:prstTxWarp prst="textNoShape">
                    <a:avLst/>
                  </a:prstTxWarp>
                </a:bodyPr>
                <a:lstStyle/>
                <a:p>
                  <a:pPr algn="ctr" defTabSz="913731" fontAlgn="base">
                    <a:spcBef>
                      <a:spcPct val="0"/>
                    </a:spcBef>
                    <a:spcAft>
                      <a:spcPct val="0"/>
                    </a:spcAft>
                  </a:pPr>
                  <a:endParaRPr lang="en-US" sz="1029" dirty="0">
                    <a:solidFill>
                      <a:srgbClr val="FFFFFF"/>
                    </a:solidFill>
                    <a:latin typeface="Segoe UI Light"/>
                  </a:endParaRPr>
                </a:p>
              </p:txBody>
            </p:sp>
            <p:sp>
              <p:nvSpPr>
                <p:cNvPr id="157" name="Rectangle 156"/>
                <p:cNvSpPr/>
                <p:nvPr/>
              </p:nvSpPr>
              <p:spPr bwMode="auto">
                <a:xfrm>
                  <a:off x="554883" y="2774690"/>
                  <a:ext cx="3702792" cy="804672"/>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12" tIns="44812" rIns="44812" bIns="44812" numCol="1" rtlCol="0" anchor="b" anchorCtr="0" compatLnSpc="1">
                  <a:prstTxWarp prst="textNoShape">
                    <a:avLst/>
                  </a:prstTxWarp>
                </a:bodyPr>
                <a:lstStyle/>
                <a:p>
                  <a:pPr algn="ctr" defTabSz="913731" fontAlgn="base">
                    <a:spcBef>
                      <a:spcPct val="0"/>
                    </a:spcBef>
                    <a:spcAft>
                      <a:spcPct val="0"/>
                    </a:spcAft>
                  </a:pPr>
                  <a:endParaRPr lang="en-US" sz="1029" dirty="0">
                    <a:solidFill>
                      <a:srgbClr val="FFFFFF"/>
                    </a:solidFill>
                    <a:latin typeface="Segoe UI Light"/>
                  </a:endParaRPr>
                </a:p>
              </p:txBody>
            </p:sp>
            <p:grpSp>
              <p:nvGrpSpPr>
                <p:cNvPr id="158" name="Group 157"/>
                <p:cNvGrpSpPr/>
                <p:nvPr/>
              </p:nvGrpSpPr>
              <p:grpSpPr>
                <a:xfrm>
                  <a:off x="1514545" y="1972751"/>
                  <a:ext cx="2679199" cy="685800"/>
                  <a:chOff x="-2647216" y="2072169"/>
                  <a:chExt cx="2679199" cy="685800"/>
                </a:xfrm>
              </p:grpSpPr>
              <p:sp>
                <p:nvSpPr>
                  <p:cNvPr id="165" name="Rectangle 164"/>
                  <p:cNvSpPr/>
                  <p:nvPr/>
                </p:nvSpPr>
                <p:spPr bwMode="auto">
                  <a:xfrm>
                    <a:off x="-2647216" y="2072169"/>
                    <a:ext cx="868680" cy="685800"/>
                  </a:xfrm>
                  <a:prstGeom prst="rect">
                    <a:avLst/>
                  </a:prstGeom>
                  <a:solidFill>
                    <a:srgbClr val="7F7F7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5" tIns="45703" rIns="91405" bIns="45703" numCol="1" rtlCol="0" anchor="b" anchorCtr="0" compatLnSpc="1">
                    <a:prstTxWarp prst="textNoShape">
                      <a:avLst/>
                    </a:prstTxWarp>
                  </a:bodyPr>
                  <a:lstStyle/>
                  <a:p>
                    <a:pPr algn="ctr" defTabSz="913731" fontAlgn="base">
                      <a:spcBef>
                        <a:spcPct val="0"/>
                      </a:spcBef>
                      <a:spcAft>
                        <a:spcPct val="0"/>
                      </a:spcAft>
                    </a:pPr>
                    <a:r>
                      <a:rPr lang="en-US" sz="980" b="1" dirty="0">
                        <a:solidFill>
                          <a:srgbClr val="FFFFFF"/>
                        </a:solidFill>
                        <a:latin typeface="Segoe UI Light"/>
                      </a:rPr>
                      <a:t>RemoteApp</a:t>
                    </a:r>
                  </a:p>
                </p:txBody>
              </p:sp>
              <p:sp>
                <p:nvSpPr>
                  <p:cNvPr id="166" name="Rectangle 165"/>
                  <p:cNvSpPr/>
                  <p:nvPr/>
                </p:nvSpPr>
                <p:spPr bwMode="auto">
                  <a:xfrm>
                    <a:off x="-1741957" y="2072169"/>
                    <a:ext cx="868680" cy="685800"/>
                  </a:xfrm>
                  <a:prstGeom prst="rect">
                    <a:avLst/>
                  </a:prstGeom>
                  <a:solidFill>
                    <a:srgbClr val="7F7F7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5" tIns="45703" rIns="91405" bIns="45703" numCol="1" rtlCol="0" anchor="b" anchorCtr="0" compatLnSpc="1">
                    <a:prstTxWarp prst="textNoShape">
                      <a:avLst/>
                    </a:prstTxWarp>
                  </a:bodyPr>
                  <a:lstStyle/>
                  <a:p>
                    <a:pPr algn="ctr" defTabSz="913731" fontAlgn="base">
                      <a:spcBef>
                        <a:spcPct val="0"/>
                      </a:spcBef>
                      <a:spcAft>
                        <a:spcPct val="0"/>
                      </a:spcAft>
                    </a:pPr>
                    <a:r>
                      <a:rPr lang="en-US" sz="980" b="1" dirty="0">
                        <a:solidFill>
                          <a:srgbClr val="FFFFFF"/>
                        </a:solidFill>
                        <a:latin typeface="Segoe UI Light"/>
                      </a:rPr>
                      <a:t>HPC</a:t>
                    </a:r>
                  </a:p>
                </p:txBody>
              </p:sp>
              <p:sp>
                <p:nvSpPr>
                  <p:cNvPr id="167" name="Rectangle 166"/>
                  <p:cNvSpPr/>
                  <p:nvPr/>
                </p:nvSpPr>
                <p:spPr bwMode="auto">
                  <a:xfrm>
                    <a:off x="-836697" y="2072169"/>
                    <a:ext cx="868680" cy="685800"/>
                  </a:xfrm>
                  <a:prstGeom prst="rect">
                    <a:avLst/>
                  </a:prstGeom>
                  <a:solidFill>
                    <a:srgbClr val="7F7F7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5" tIns="45703" rIns="91405" bIns="45703" numCol="1" rtlCol="0" anchor="b" anchorCtr="0" compatLnSpc="1">
                    <a:prstTxWarp prst="textNoShape">
                      <a:avLst/>
                    </a:prstTxWarp>
                  </a:bodyPr>
                  <a:lstStyle/>
                  <a:p>
                    <a:pPr algn="ctr" defTabSz="913731" fontAlgn="base">
                      <a:spcBef>
                        <a:spcPct val="0"/>
                      </a:spcBef>
                      <a:spcAft>
                        <a:spcPct val="0"/>
                      </a:spcAft>
                    </a:pPr>
                    <a:r>
                      <a:rPr lang="en-US" sz="980" b="1" dirty="0">
                        <a:solidFill>
                          <a:srgbClr val="FFFFFF"/>
                        </a:solidFill>
                        <a:latin typeface="Segoe UI Light"/>
                      </a:rPr>
                      <a:t>Scheduler</a:t>
                    </a:r>
                  </a:p>
                </p:txBody>
              </p:sp>
              <p:sp>
                <p:nvSpPr>
                  <p:cNvPr id="168" name="Freeform 167"/>
                  <p:cNvSpPr>
                    <a:spLocks noEditPoints="1"/>
                  </p:cNvSpPr>
                  <p:nvPr/>
                </p:nvSpPr>
                <p:spPr bwMode="black">
                  <a:xfrm>
                    <a:off x="-2395691" y="2163491"/>
                    <a:ext cx="365630" cy="366052"/>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chemeClr val="bg1"/>
                  </a:solidFill>
                  <a:ln>
                    <a:noFill/>
                  </a:ln>
                  <a:extLst/>
                </p:spPr>
                <p:txBody>
                  <a:bodyPr vert="horz" wrap="square" lIns="80671" tIns="40336" rIns="80671" bIns="4033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960" dirty="0">
                      <a:solidFill>
                        <a:srgbClr val="000000"/>
                      </a:solidFill>
                      <a:latin typeface="Segoe UI Light"/>
                    </a:endParaRPr>
                  </a:p>
                </p:txBody>
              </p:sp>
              <p:grpSp>
                <p:nvGrpSpPr>
                  <p:cNvPr id="169" name="Group 168"/>
                  <p:cNvGrpSpPr/>
                  <p:nvPr/>
                </p:nvGrpSpPr>
                <p:grpSpPr>
                  <a:xfrm>
                    <a:off x="-1522472" y="2152693"/>
                    <a:ext cx="429710" cy="387648"/>
                    <a:chOff x="1302898" y="1640683"/>
                    <a:chExt cx="1201027" cy="1083468"/>
                  </a:xfrm>
                  <a:solidFill>
                    <a:schemeClr val="bg1"/>
                  </a:solidFill>
                </p:grpSpPr>
                <p:sp>
                  <p:nvSpPr>
                    <p:cNvPr id="171" name="Freeform 170"/>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89621" tIns="44810" rIns="89621" bIns="44810"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5902" fontAlgn="base">
                        <a:spcBef>
                          <a:spcPct val="0"/>
                        </a:spcBef>
                        <a:spcAft>
                          <a:spcPct val="0"/>
                        </a:spcAft>
                        <a:defRPr/>
                      </a:pPr>
                      <a:endParaRPr lang="en-US" sz="2745" kern="0" dirty="0">
                        <a:gradFill>
                          <a:gsLst>
                            <a:gs pos="0">
                              <a:srgbClr val="FFFFFF"/>
                            </a:gs>
                            <a:gs pos="100000">
                              <a:srgbClr val="FFFFFF"/>
                            </a:gs>
                          </a:gsLst>
                          <a:lin ang="5400000" scaled="0"/>
                        </a:gradFill>
                        <a:latin typeface="Segoe UI Light"/>
                      </a:endParaRPr>
                    </a:p>
                  </p:txBody>
                </p:sp>
                <p:sp>
                  <p:nvSpPr>
                    <p:cNvPr id="172" name="Freeform 171"/>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89621" tIns="44810" rIns="89621" bIns="44810"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5902" fontAlgn="base">
                        <a:spcBef>
                          <a:spcPct val="0"/>
                        </a:spcBef>
                        <a:spcAft>
                          <a:spcPct val="0"/>
                        </a:spcAft>
                        <a:defRPr/>
                      </a:pPr>
                      <a:endParaRPr lang="en-US" sz="2745" kern="0" dirty="0">
                        <a:gradFill>
                          <a:gsLst>
                            <a:gs pos="0">
                              <a:srgbClr val="FFFFFF"/>
                            </a:gs>
                            <a:gs pos="100000">
                              <a:srgbClr val="FFFFFF"/>
                            </a:gs>
                          </a:gsLst>
                          <a:lin ang="5400000" scaled="0"/>
                        </a:gradFill>
                        <a:latin typeface="Segoe UI Light"/>
                      </a:endParaRPr>
                    </a:p>
                  </p:txBody>
                </p:sp>
                <p:sp>
                  <p:nvSpPr>
                    <p:cNvPr id="173" name="Freeform 172"/>
                    <p:cNvSpPr/>
                    <p:nvPr/>
                  </p:nvSpPr>
                  <p:spPr>
                    <a:xfrm>
                      <a:off x="1927971" y="1866901"/>
                      <a:ext cx="377517" cy="607695"/>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89621" tIns="44810" rIns="89621" bIns="44810"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5902" fontAlgn="base">
                        <a:spcBef>
                          <a:spcPct val="0"/>
                        </a:spcBef>
                        <a:spcAft>
                          <a:spcPct val="0"/>
                        </a:spcAft>
                        <a:defRPr/>
                      </a:pPr>
                      <a:endParaRPr lang="en-US" sz="2745" kern="0" dirty="0">
                        <a:gradFill>
                          <a:gsLst>
                            <a:gs pos="0">
                              <a:srgbClr val="FFFFFF"/>
                            </a:gs>
                            <a:gs pos="100000">
                              <a:srgbClr val="FFFFFF"/>
                            </a:gs>
                          </a:gsLst>
                          <a:lin ang="5400000" scaled="0"/>
                        </a:gradFill>
                        <a:latin typeface="Segoe UI Light"/>
                      </a:endParaRPr>
                    </a:p>
                  </p:txBody>
                </p:sp>
                <p:sp>
                  <p:nvSpPr>
                    <p:cNvPr id="174" name="Freeform 173"/>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noFill/>
                      <a:prstDash val="solid"/>
                    </a:ln>
                    <a:effectLst/>
                  </p:spPr>
                  <p:txBody>
                    <a:bodyPr vert="horz" wrap="square" lIns="89621" tIns="44810" rIns="89621" bIns="44810"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5902" fontAlgn="base">
                        <a:spcBef>
                          <a:spcPct val="0"/>
                        </a:spcBef>
                        <a:spcAft>
                          <a:spcPct val="0"/>
                        </a:spcAft>
                        <a:defRPr/>
                      </a:pPr>
                      <a:endParaRPr lang="en-US" sz="2745" kern="0" dirty="0">
                        <a:gradFill>
                          <a:gsLst>
                            <a:gs pos="0">
                              <a:srgbClr val="FFFFFF"/>
                            </a:gs>
                            <a:gs pos="100000">
                              <a:srgbClr val="FFFFFF"/>
                            </a:gs>
                          </a:gsLst>
                          <a:lin ang="5400000" scaled="0"/>
                        </a:gradFill>
                        <a:latin typeface="Segoe UI Light"/>
                      </a:endParaRPr>
                    </a:p>
                  </p:txBody>
                </p:sp>
                <p:sp>
                  <p:nvSpPr>
                    <p:cNvPr id="175" name="Freeform 174"/>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9525">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25" tIns="44812" rIns="44812" bIns="89625"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5902" fontAlgn="base">
                        <a:spcBef>
                          <a:spcPct val="0"/>
                        </a:spcBef>
                        <a:spcAft>
                          <a:spcPct val="0"/>
                        </a:spcAft>
                      </a:pPr>
                      <a:endParaRPr lang="en-US" sz="2352"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170" name="Freeform 169"/>
                  <p:cNvSpPr>
                    <a:spLocks noEditPoints="1"/>
                  </p:cNvSpPr>
                  <p:nvPr/>
                </p:nvSpPr>
                <p:spPr bwMode="auto">
                  <a:xfrm>
                    <a:off x="-601154" y="2171242"/>
                    <a:ext cx="397594" cy="350550"/>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91409" tIns="45705" rIns="91409" bIns="45705" numCol="1" anchor="t" anchorCtr="0" compatLnSpc="1">
                    <a:prstTxWarp prst="textNoShape">
                      <a:avLst/>
                    </a:prstTxWarp>
                  </a:bodyPr>
                  <a:lstStyle/>
                  <a:p>
                    <a:pPr defTabSz="1214587"/>
                    <a:endParaRPr lang="en-US" sz="3136" dirty="0">
                      <a:solidFill>
                        <a:srgbClr val="292929"/>
                      </a:solidFill>
                      <a:latin typeface="Segoe UI Light"/>
                    </a:endParaRPr>
                  </a:p>
                </p:txBody>
              </p:sp>
            </p:grpSp>
            <p:grpSp>
              <p:nvGrpSpPr>
                <p:cNvPr id="159" name="Group 158"/>
                <p:cNvGrpSpPr/>
                <p:nvPr/>
              </p:nvGrpSpPr>
              <p:grpSpPr>
                <a:xfrm>
                  <a:off x="614050" y="2834126"/>
                  <a:ext cx="2679198" cy="685800"/>
                  <a:chOff x="-3552475" y="2908379"/>
                  <a:chExt cx="2679198" cy="685800"/>
                </a:xfrm>
              </p:grpSpPr>
              <p:sp>
                <p:nvSpPr>
                  <p:cNvPr id="160" name="Rectangle 159"/>
                  <p:cNvSpPr/>
                  <p:nvPr/>
                </p:nvSpPr>
                <p:spPr bwMode="auto">
                  <a:xfrm>
                    <a:off x="-3552475" y="2908379"/>
                    <a:ext cx="868680" cy="685800"/>
                  </a:xfrm>
                  <a:prstGeom prst="rect">
                    <a:avLst/>
                  </a:prstGeom>
                  <a:solidFill>
                    <a:srgbClr val="7F7F7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5" tIns="45703" rIns="91405" bIns="45703" numCol="1" rtlCol="0" anchor="b" anchorCtr="0" compatLnSpc="1">
                    <a:prstTxWarp prst="textNoShape">
                      <a:avLst/>
                    </a:prstTxWarp>
                  </a:bodyPr>
                  <a:lstStyle/>
                  <a:p>
                    <a:pPr algn="ctr" defTabSz="913731" fontAlgn="base">
                      <a:spcBef>
                        <a:spcPct val="0"/>
                      </a:spcBef>
                      <a:spcAft>
                        <a:spcPct val="0"/>
                      </a:spcAft>
                    </a:pPr>
                    <a:r>
                      <a:rPr lang="en-US" sz="980" b="1" dirty="0">
                        <a:solidFill>
                          <a:srgbClr val="FFFFFF"/>
                        </a:solidFill>
                        <a:latin typeface="Segoe UI Light"/>
                      </a:rPr>
                      <a:t>Automation</a:t>
                    </a:r>
                  </a:p>
                </p:txBody>
              </p:sp>
              <p:sp>
                <p:nvSpPr>
                  <p:cNvPr id="161" name="Rectangle 160"/>
                  <p:cNvSpPr/>
                  <p:nvPr/>
                </p:nvSpPr>
                <p:spPr bwMode="auto">
                  <a:xfrm>
                    <a:off x="-2647216" y="2908379"/>
                    <a:ext cx="868680" cy="685800"/>
                  </a:xfrm>
                  <a:prstGeom prst="rect">
                    <a:avLst/>
                  </a:prstGeom>
                  <a:solidFill>
                    <a:srgbClr val="7F7F7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5" tIns="45703" rIns="91405" bIns="45703" numCol="1" rtlCol="0" anchor="b" anchorCtr="0" compatLnSpc="1">
                    <a:prstTxWarp prst="textNoShape">
                      <a:avLst/>
                    </a:prstTxWarp>
                  </a:bodyPr>
                  <a:lstStyle/>
                  <a:p>
                    <a:pPr algn="ctr" defTabSz="913731" fontAlgn="base">
                      <a:spcBef>
                        <a:spcPct val="0"/>
                      </a:spcBef>
                      <a:spcAft>
                        <a:spcPct val="0"/>
                      </a:spcAft>
                    </a:pPr>
                    <a:r>
                      <a:rPr lang="en-US" sz="980" b="1" dirty="0">
                        <a:solidFill>
                          <a:srgbClr val="FFFFFF"/>
                        </a:solidFill>
                        <a:latin typeface="Segoe UI Light"/>
                      </a:rPr>
                      <a:t>CDN</a:t>
                    </a:r>
                  </a:p>
                </p:txBody>
              </p:sp>
              <p:sp>
                <p:nvSpPr>
                  <p:cNvPr id="162" name="Rectangle 161"/>
                  <p:cNvSpPr/>
                  <p:nvPr/>
                </p:nvSpPr>
                <p:spPr bwMode="auto">
                  <a:xfrm>
                    <a:off x="-1741957" y="2908379"/>
                    <a:ext cx="868680" cy="685800"/>
                  </a:xfrm>
                  <a:prstGeom prst="rect">
                    <a:avLst/>
                  </a:prstGeom>
                  <a:solidFill>
                    <a:srgbClr val="7F7F7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5" tIns="45703" rIns="91405" bIns="45703" numCol="1" rtlCol="0" anchor="b" anchorCtr="0" compatLnSpc="1">
                    <a:prstTxWarp prst="textNoShape">
                      <a:avLst/>
                    </a:prstTxWarp>
                  </a:bodyPr>
                  <a:lstStyle/>
                  <a:p>
                    <a:pPr algn="ctr" defTabSz="913731" fontAlgn="base">
                      <a:spcBef>
                        <a:spcPct val="0"/>
                      </a:spcBef>
                      <a:spcAft>
                        <a:spcPct val="0"/>
                      </a:spcAft>
                    </a:pPr>
                    <a:r>
                      <a:rPr lang="en-US" sz="980" b="1" dirty="0">
                        <a:solidFill>
                          <a:srgbClr val="FFFFFF"/>
                        </a:solidFill>
                        <a:latin typeface="Segoe UI Light"/>
                      </a:rPr>
                      <a:t>RemoteApp</a:t>
                    </a:r>
                  </a:p>
                </p:txBody>
              </p:sp>
              <p:sp>
                <p:nvSpPr>
                  <p:cNvPr id="163" name="Block Arc 6"/>
                  <p:cNvSpPr/>
                  <p:nvPr/>
                </p:nvSpPr>
                <p:spPr>
                  <a:xfrm>
                    <a:off x="-3304500" y="2976089"/>
                    <a:ext cx="372730" cy="372730"/>
                  </a:xfrm>
                  <a:custGeom>
                    <a:avLst/>
                    <a:gdLst/>
                    <a:ahLst/>
                    <a:cxnLst/>
                    <a:rect l="l" t="t" r="r" b="b"/>
                    <a:pathLst>
                      <a:path w="2936350" h="2936350">
                        <a:moveTo>
                          <a:pt x="1468175" y="1289581"/>
                        </a:moveTo>
                        <a:cubicBezTo>
                          <a:pt x="1563946" y="1289581"/>
                          <a:pt x="1642109" y="1364963"/>
                          <a:pt x="1645058" y="1459701"/>
                        </a:cubicBezTo>
                        <a:lnTo>
                          <a:pt x="1958717" y="1762599"/>
                        </a:lnTo>
                        <a:cubicBezTo>
                          <a:pt x="2007813" y="1681261"/>
                          <a:pt x="2035913" y="1588465"/>
                          <a:pt x="2040007" y="1492589"/>
                        </a:cubicBezTo>
                        <a:lnTo>
                          <a:pt x="2478230" y="1511298"/>
                        </a:lnTo>
                        <a:cubicBezTo>
                          <a:pt x="2469544" y="1714745"/>
                          <a:pt x="2399657" y="1910343"/>
                          <a:pt x="2275883" y="2070911"/>
                        </a:cubicBezTo>
                        <a:cubicBezTo>
                          <a:pt x="2322484" y="2119427"/>
                          <a:pt x="2322157" y="2196479"/>
                          <a:pt x="2274851" y="2245466"/>
                        </a:cubicBezTo>
                        <a:lnTo>
                          <a:pt x="2274851" y="2245464"/>
                        </a:lnTo>
                        <a:cubicBezTo>
                          <a:pt x="2225843" y="2296213"/>
                          <a:pt x="2144975" y="2297625"/>
                          <a:pt x="2094227" y="2248617"/>
                        </a:cubicBezTo>
                        <a:lnTo>
                          <a:pt x="1470507" y="1646298"/>
                        </a:lnTo>
                        <a:cubicBezTo>
                          <a:pt x="1469735" y="1646764"/>
                          <a:pt x="1468956" y="1646769"/>
                          <a:pt x="1468175" y="1646769"/>
                        </a:cubicBezTo>
                        <a:cubicBezTo>
                          <a:pt x="1369540" y="1646769"/>
                          <a:pt x="1289581" y="1566810"/>
                          <a:pt x="1289581" y="1468175"/>
                        </a:cubicBezTo>
                        <a:cubicBezTo>
                          <a:pt x="1289581" y="1369540"/>
                          <a:pt x="1369540" y="1289581"/>
                          <a:pt x="1468175" y="1289581"/>
                        </a:cubicBezTo>
                        <a:close/>
                        <a:moveTo>
                          <a:pt x="703004" y="807429"/>
                        </a:moveTo>
                        <a:lnTo>
                          <a:pt x="1034982" y="1094100"/>
                        </a:lnTo>
                        <a:cubicBezTo>
                          <a:pt x="952229" y="1189932"/>
                          <a:pt x="903589" y="1310499"/>
                          <a:pt x="896676" y="1436926"/>
                        </a:cubicBezTo>
                        <a:lnTo>
                          <a:pt x="458708" y="1412980"/>
                        </a:lnTo>
                        <a:cubicBezTo>
                          <a:pt x="470919" y="1189665"/>
                          <a:pt x="556834" y="976701"/>
                          <a:pt x="703004" y="807429"/>
                        </a:cubicBezTo>
                        <a:close/>
                        <a:moveTo>
                          <a:pt x="2227598" y="800832"/>
                        </a:moveTo>
                        <a:cubicBezTo>
                          <a:pt x="2375228" y="968832"/>
                          <a:pt x="2462984" y="1181044"/>
                          <a:pt x="2477127" y="1404245"/>
                        </a:cubicBezTo>
                        <a:lnTo>
                          <a:pt x="2039383" y="1431982"/>
                        </a:lnTo>
                        <a:cubicBezTo>
                          <a:pt x="2031376" y="1305619"/>
                          <a:pt x="1981694" y="1185478"/>
                          <a:pt x="1898115" y="1090366"/>
                        </a:cubicBezTo>
                        <a:close/>
                        <a:moveTo>
                          <a:pt x="1540008" y="459756"/>
                        </a:moveTo>
                        <a:cubicBezTo>
                          <a:pt x="1763092" y="475647"/>
                          <a:pt x="1974610" y="565062"/>
                          <a:pt x="2141448" y="714004"/>
                        </a:cubicBezTo>
                        <a:lnTo>
                          <a:pt x="1849342" y="1041209"/>
                        </a:lnTo>
                        <a:cubicBezTo>
                          <a:pt x="1754888" y="956887"/>
                          <a:pt x="1635140" y="906266"/>
                          <a:pt x="1508843" y="897269"/>
                        </a:cubicBezTo>
                        <a:close/>
                        <a:moveTo>
                          <a:pt x="1404245" y="459223"/>
                        </a:moveTo>
                        <a:lnTo>
                          <a:pt x="1431982" y="896967"/>
                        </a:lnTo>
                        <a:cubicBezTo>
                          <a:pt x="1305619" y="904974"/>
                          <a:pt x="1185478" y="954656"/>
                          <a:pt x="1090366" y="1038235"/>
                        </a:cubicBezTo>
                        <a:lnTo>
                          <a:pt x="800832" y="708752"/>
                        </a:lnTo>
                        <a:cubicBezTo>
                          <a:pt x="968832" y="561122"/>
                          <a:pt x="1181044" y="473366"/>
                          <a:pt x="1404245" y="459223"/>
                        </a:cubicBezTo>
                        <a:close/>
                        <a:moveTo>
                          <a:pt x="1468175" y="278278"/>
                        </a:moveTo>
                        <a:cubicBezTo>
                          <a:pt x="811013" y="278278"/>
                          <a:pt x="278278" y="811013"/>
                          <a:pt x="278278" y="1468175"/>
                        </a:cubicBezTo>
                        <a:cubicBezTo>
                          <a:pt x="278278" y="2125337"/>
                          <a:pt x="811013" y="2658072"/>
                          <a:pt x="1468175" y="2658072"/>
                        </a:cubicBezTo>
                        <a:cubicBezTo>
                          <a:pt x="2125337" y="2658072"/>
                          <a:pt x="2658072" y="2125337"/>
                          <a:pt x="2658072" y="1468175"/>
                        </a:cubicBezTo>
                        <a:cubicBezTo>
                          <a:pt x="2658072" y="811013"/>
                          <a:pt x="2125337" y="278278"/>
                          <a:pt x="1468175" y="278278"/>
                        </a:cubicBezTo>
                        <a:close/>
                        <a:moveTo>
                          <a:pt x="1468175" y="0"/>
                        </a:moveTo>
                        <a:cubicBezTo>
                          <a:pt x="2279026" y="0"/>
                          <a:pt x="2936350" y="657324"/>
                          <a:pt x="2936350" y="1468175"/>
                        </a:cubicBezTo>
                        <a:cubicBezTo>
                          <a:pt x="2936350" y="2279026"/>
                          <a:pt x="2279026" y="2936350"/>
                          <a:pt x="1468175" y="2936350"/>
                        </a:cubicBezTo>
                        <a:cubicBezTo>
                          <a:pt x="657324" y="2936350"/>
                          <a:pt x="0" y="2279026"/>
                          <a:pt x="0" y="1468175"/>
                        </a:cubicBezTo>
                        <a:cubicBezTo>
                          <a:pt x="0" y="657324"/>
                          <a:pt x="657324" y="0"/>
                          <a:pt x="146817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25" tIns="89625" rIns="89625" bIns="89625"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568" dirty="0">
                      <a:solidFill>
                        <a:srgbClr val="FFFFFF"/>
                      </a:solidFill>
                      <a:latin typeface="Segoe UI Light"/>
                    </a:endParaRPr>
                  </a:p>
                </p:txBody>
              </p:sp>
              <p:sp>
                <p:nvSpPr>
                  <p:cNvPr id="164" name="L-Shape 12"/>
                  <p:cNvSpPr/>
                  <p:nvPr/>
                </p:nvSpPr>
                <p:spPr>
                  <a:xfrm>
                    <a:off x="-1470408" y="3014541"/>
                    <a:ext cx="325582" cy="295826"/>
                  </a:xfrm>
                  <a:custGeom>
                    <a:avLst/>
                    <a:gdLst/>
                    <a:ahLst/>
                    <a:cxnLst/>
                    <a:rect l="l" t="t" r="r" b="b"/>
                    <a:pathLst>
                      <a:path w="2084586" h="1894071">
                        <a:moveTo>
                          <a:pt x="485337" y="1264369"/>
                        </a:moveTo>
                        <a:lnTo>
                          <a:pt x="672903" y="1264369"/>
                        </a:lnTo>
                        <a:lnTo>
                          <a:pt x="672903" y="1720793"/>
                        </a:lnTo>
                        <a:lnTo>
                          <a:pt x="752398" y="1720793"/>
                        </a:lnTo>
                        <a:lnTo>
                          <a:pt x="579120" y="1894071"/>
                        </a:lnTo>
                        <a:lnTo>
                          <a:pt x="405842" y="1720793"/>
                        </a:lnTo>
                        <a:lnTo>
                          <a:pt x="485337" y="1720793"/>
                        </a:lnTo>
                        <a:close/>
                        <a:moveTo>
                          <a:pt x="331797" y="999793"/>
                        </a:moveTo>
                        <a:lnTo>
                          <a:pt x="826444" y="999793"/>
                        </a:lnTo>
                        <a:lnTo>
                          <a:pt x="826444" y="1109744"/>
                        </a:lnTo>
                        <a:lnTo>
                          <a:pt x="331797" y="1109744"/>
                        </a:lnTo>
                        <a:close/>
                        <a:moveTo>
                          <a:pt x="331797" y="841330"/>
                        </a:moveTo>
                        <a:lnTo>
                          <a:pt x="826444" y="841330"/>
                        </a:lnTo>
                        <a:lnTo>
                          <a:pt x="826444" y="951281"/>
                        </a:lnTo>
                        <a:lnTo>
                          <a:pt x="331797" y="951281"/>
                        </a:lnTo>
                        <a:close/>
                        <a:moveTo>
                          <a:pt x="331797" y="682868"/>
                        </a:moveTo>
                        <a:lnTo>
                          <a:pt x="826444" y="682868"/>
                        </a:lnTo>
                        <a:lnTo>
                          <a:pt x="826444" y="792819"/>
                        </a:lnTo>
                        <a:lnTo>
                          <a:pt x="331797" y="792819"/>
                        </a:lnTo>
                        <a:close/>
                        <a:moveTo>
                          <a:pt x="723092" y="295346"/>
                        </a:moveTo>
                        <a:cubicBezTo>
                          <a:pt x="1141964" y="298315"/>
                          <a:pt x="1490793" y="568996"/>
                          <a:pt x="1573762" y="929135"/>
                        </a:cubicBezTo>
                        <a:cubicBezTo>
                          <a:pt x="1814763" y="958572"/>
                          <a:pt x="2012695" y="1067283"/>
                          <a:pt x="2079531" y="1213804"/>
                        </a:cubicBezTo>
                        <a:lnTo>
                          <a:pt x="2076926" y="1214231"/>
                        </a:lnTo>
                        <a:cubicBezTo>
                          <a:pt x="2082206" y="1218728"/>
                          <a:pt x="2084586" y="1225448"/>
                          <a:pt x="2084586" y="1232724"/>
                        </a:cubicBezTo>
                        <a:lnTo>
                          <a:pt x="2084586" y="1593670"/>
                        </a:lnTo>
                        <a:cubicBezTo>
                          <a:pt x="2084586" y="1611702"/>
                          <a:pt x="2069969" y="1626319"/>
                          <a:pt x="2051937" y="1626319"/>
                        </a:cubicBezTo>
                        <a:lnTo>
                          <a:pt x="1935052" y="1626319"/>
                        </a:lnTo>
                        <a:lnTo>
                          <a:pt x="1935051" y="1626319"/>
                        </a:lnTo>
                        <a:lnTo>
                          <a:pt x="805823" y="1626319"/>
                        </a:lnTo>
                        <a:lnTo>
                          <a:pt x="805823" y="1420840"/>
                        </a:lnTo>
                        <a:lnTo>
                          <a:pt x="1902403" y="1420840"/>
                        </a:lnTo>
                        <a:lnTo>
                          <a:pt x="1902403" y="1239177"/>
                        </a:lnTo>
                        <a:cubicBezTo>
                          <a:pt x="1830681" y="1149132"/>
                          <a:pt x="1645801" y="1089233"/>
                          <a:pt x="1438332" y="1088855"/>
                        </a:cubicBezTo>
                        <a:lnTo>
                          <a:pt x="1438336" y="1088375"/>
                        </a:lnTo>
                        <a:lnTo>
                          <a:pt x="1426991" y="1088468"/>
                        </a:lnTo>
                        <a:cubicBezTo>
                          <a:pt x="1423433" y="742809"/>
                          <a:pt x="1109554" y="463526"/>
                          <a:pt x="721680" y="460900"/>
                        </a:cubicBezTo>
                        <a:close/>
                        <a:moveTo>
                          <a:pt x="0" y="0"/>
                        </a:moveTo>
                        <a:lnTo>
                          <a:pt x="187452" y="0"/>
                        </a:lnTo>
                        <a:lnTo>
                          <a:pt x="187452" y="3"/>
                        </a:lnTo>
                        <a:lnTo>
                          <a:pt x="693420" y="3"/>
                        </a:lnTo>
                        <a:lnTo>
                          <a:pt x="693420" y="453053"/>
                        </a:lnTo>
                        <a:lnTo>
                          <a:pt x="507565" y="453053"/>
                        </a:lnTo>
                        <a:lnTo>
                          <a:pt x="507565" y="189586"/>
                        </a:lnTo>
                        <a:lnTo>
                          <a:pt x="187452" y="189586"/>
                        </a:lnTo>
                        <a:lnTo>
                          <a:pt x="187452" y="1424613"/>
                        </a:lnTo>
                        <a:lnTo>
                          <a:pt x="365760" y="1424613"/>
                        </a:lnTo>
                        <a:lnTo>
                          <a:pt x="365760" y="1626319"/>
                        </a:lnTo>
                        <a:lnTo>
                          <a:pt x="0" y="162631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2352" dirty="0">
                      <a:solidFill>
                        <a:srgbClr val="FFFFFF"/>
                      </a:solidFill>
                      <a:latin typeface="Segoe UI Light"/>
                    </a:endParaRPr>
                  </a:p>
                </p:txBody>
              </p:sp>
            </p:grpSp>
          </p:grpSp>
          <p:grpSp>
            <p:nvGrpSpPr>
              <p:cNvPr id="153" name="Group 152"/>
              <p:cNvGrpSpPr/>
              <p:nvPr/>
            </p:nvGrpSpPr>
            <p:grpSpPr>
              <a:xfrm>
                <a:off x="1385116" y="4528899"/>
                <a:ext cx="930998" cy="734998"/>
                <a:chOff x="606938" y="3708737"/>
                <a:chExt cx="868680" cy="685800"/>
              </a:xfrm>
            </p:grpSpPr>
            <p:sp>
              <p:nvSpPr>
                <p:cNvPr id="154" name="Rectangle 153"/>
                <p:cNvSpPr/>
                <p:nvPr/>
              </p:nvSpPr>
              <p:spPr bwMode="auto">
                <a:xfrm>
                  <a:off x="606938" y="3708737"/>
                  <a:ext cx="868680" cy="685800"/>
                </a:xfrm>
                <a:prstGeom prst="rect">
                  <a:avLst/>
                </a:prstGeom>
                <a:solidFill>
                  <a:srgbClr val="7F7F7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5" tIns="45703" rIns="91405" bIns="45703" numCol="1" rtlCol="0" anchor="b" anchorCtr="0" compatLnSpc="1">
                  <a:prstTxWarp prst="textNoShape">
                    <a:avLst/>
                  </a:prstTxWarp>
                </a:bodyPr>
                <a:lstStyle/>
                <a:p>
                  <a:pPr algn="ctr" defTabSz="913731" fontAlgn="base">
                    <a:spcBef>
                      <a:spcPct val="0"/>
                    </a:spcBef>
                    <a:spcAft>
                      <a:spcPct val="0"/>
                    </a:spcAft>
                  </a:pPr>
                  <a:r>
                    <a:rPr lang="en-US" sz="783" b="1" dirty="0">
                      <a:solidFill>
                        <a:srgbClr val="FFFFFF"/>
                      </a:solidFill>
                    </a:rPr>
                    <a:t>Media</a:t>
                  </a:r>
                </a:p>
              </p:txBody>
            </p:sp>
            <p:sp>
              <p:nvSpPr>
                <p:cNvPr id="155" name="Freeform 154"/>
                <p:cNvSpPr>
                  <a:spLocks noEditPoints="1"/>
                </p:cNvSpPr>
                <p:nvPr/>
              </p:nvSpPr>
              <p:spPr bwMode="black">
                <a:xfrm flipH="1">
                  <a:off x="887172" y="3808706"/>
                  <a:ext cx="308212" cy="308212"/>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chemeClr val="bg1"/>
                </a:solidFill>
                <a:ln>
                  <a:noFill/>
                </a:ln>
                <a:extLst/>
              </p:spPr>
              <p:txBody>
                <a:bodyPr vert="horz" wrap="square" lIns="89625" tIns="44812" rIns="89625" bIns="44812"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765" dirty="0">
                    <a:solidFill>
                      <a:srgbClr val="000000"/>
                    </a:solidFill>
                  </a:endParaRPr>
                </a:p>
              </p:txBody>
            </p:sp>
          </p:grpSp>
        </p:grpSp>
        <p:sp>
          <p:nvSpPr>
            <p:cNvPr id="92" name="Rectangle 91"/>
            <p:cNvSpPr/>
            <p:nvPr/>
          </p:nvSpPr>
          <p:spPr bwMode="auto">
            <a:xfrm>
              <a:off x="12557466" y="5153230"/>
              <a:ext cx="930998" cy="734998"/>
            </a:xfrm>
            <a:prstGeom prst="rect">
              <a:avLst/>
            </a:prstGeom>
            <a:solidFill>
              <a:srgbClr val="7F7F7F"/>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5" tIns="45703" rIns="91405" bIns="45703" numCol="1" rtlCol="0" anchor="b" anchorCtr="0" compatLnSpc="1">
              <a:prstTxWarp prst="textNoShape">
                <a:avLst/>
              </a:prstTxWarp>
            </a:bodyPr>
            <a:lstStyle/>
            <a:p>
              <a:pPr algn="ctr" defTabSz="913731" fontAlgn="base">
                <a:spcBef>
                  <a:spcPct val="0"/>
                </a:spcBef>
                <a:spcAft>
                  <a:spcPct val="0"/>
                </a:spcAft>
              </a:pPr>
              <a:r>
                <a:rPr lang="en-US" sz="980" b="1" dirty="0">
                  <a:solidFill>
                    <a:srgbClr val="FFFFFF"/>
                  </a:solidFill>
                  <a:latin typeface="Segoe UI Light"/>
                </a:rPr>
                <a:t>Multi-Factor</a:t>
              </a:r>
            </a:p>
          </p:txBody>
        </p:sp>
        <p:sp>
          <p:nvSpPr>
            <p:cNvPr id="93" name="Rounded Rectangle 27"/>
            <p:cNvSpPr/>
            <p:nvPr/>
          </p:nvSpPr>
          <p:spPr>
            <a:xfrm>
              <a:off x="12889152" y="5214560"/>
              <a:ext cx="267626" cy="421943"/>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25" tIns="89625" rIns="89625" bIns="89625"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568" dirty="0">
                <a:solidFill>
                  <a:srgbClr val="FFFFFF"/>
                </a:solidFill>
                <a:latin typeface="Segoe UI Light"/>
              </a:endParaRPr>
            </a:p>
          </p:txBody>
        </p:sp>
        <p:sp>
          <p:nvSpPr>
            <p:cNvPr id="94" name="Freeform 93"/>
            <p:cNvSpPr/>
            <p:nvPr/>
          </p:nvSpPr>
          <p:spPr bwMode="auto">
            <a:xfrm>
              <a:off x="10827239" y="5267008"/>
              <a:ext cx="526185" cy="369154"/>
            </a:xfrm>
            <a:custGeom>
              <a:avLst/>
              <a:gdLst/>
              <a:ahLst/>
              <a:cxnLst/>
              <a:rect l="l" t="t" r="r" b="b"/>
              <a:pathLst>
                <a:path w="1009669" h="708348">
                  <a:moveTo>
                    <a:pt x="603501" y="50150"/>
                  </a:moveTo>
                  <a:cubicBezTo>
                    <a:pt x="542180" y="62066"/>
                    <a:pt x="478445" y="107364"/>
                    <a:pt x="423184" y="199570"/>
                  </a:cubicBezTo>
                  <a:cubicBezTo>
                    <a:pt x="272212" y="83061"/>
                    <a:pt x="152459" y="206121"/>
                    <a:pt x="161943" y="302069"/>
                  </a:cubicBezTo>
                  <a:cubicBezTo>
                    <a:pt x="26288" y="375528"/>
                    <a:pt x="-48026" y="601915"/>
                    <a:pt x="246332" y="675024"/>
                  </a:cubicBezTo>
                  <a:cubicBezTo>
                    <a:pt x="328364" y="681654"/>
                    <a:pt x="702463" y="671711"/>
                    <a:pt x="811175" y="671084"/>
                  </a:cubicBezTo>
                  <a:cubicBezTo>
                    <a:pt x="1117486" y="580742"/>
                    <a:pt x="907007" y="327973"/>
                    <a:pt x="825793" y="314144"/>
                  </a:cubicBezTo>
                  <a:cubicBezTo>
                    <a:pt x="880245" y="220504"/>
                    <a:pt x="816740" y="98944"/>
                    <a:pt x="715155" y="59282"/>
                  </a:cubicBezTo>
                  <a:lnTo>
                    <a:pt x="734188" y="76200"/>
                  </a:lnTo>
                  <a:lnTo>
                    <a:pt x="562738" y="209550"/>
                  </a:lnTo>
                  <a:lnTo>
                    <a:pt x="800863" y="247650"/>
                  </a:lnTo>
                  <a:lnTo>
                    <a:pt x="438913" y="523875"/>
                  </a:lnTo>
                  <a:lnTo>
                    <a:pt x="591313" y="304800"/>
                  </a:lnTo>
                  <a:lnTo>
                    <a:pt x="400813" y="276225"/>
                  </a:lnTo>
                  <a:close/>
                  <a:moveTo>
                    <a:pt x="648463" y="0"/>
                  </a:moveTo>
                  <a:lnTo>
                    <a:pt x="656810" y="7419"/>
                  </a:lnTo>
                  <a:cubicBezTo>
                    <a:pt x="809413" y="16248"/>
                    <a:pt x="925532" y="208708"/>
                    <a:pt x="861868" y="304362"/>
                  </a:cubicBezTo>
                  <a:cubicBezTo>
                    <a:pt x="958394" y="320798"/>
                    <a:pt x="1143974" y="563623"/>
                    <a:pt x="853221" y="702416"/>
                  </a:cubicBezTo>
                  <a:cubicBezTo>
                    <a:pt x="724013" y="703162"/>
                    <a:pt x="289857" y="713233"/>
                    <a:pt x="192359" y="705353"/>
                  </a:cubicBezTo>
                  <a:cubicBezTo>
                    <a:pt x="-155750" y="576570"/>
                    <a:pt x="61739" y="286556"/>
                    <a:pt x="128715" y="286519"/>
                  </a:cubicBezTo>
                  <a:cubicBezTo>
                    <a:pt x="117442" y="172482"/>
                    <a:pt x="278973" y="34948"/>
                    <a:pt x="416517" y="164695"/>
                  </a:cubicBezTo>
                  <a:cubicBezTo>
                    <a:pt x="488301" y="49825"/>
                    <a:pt x="568070" y="6328"/>
                    <a:pt x="640898" y="5208"/>
                  </a:cubicBezTo>
                  <a:lnTo>
                    <a:pt x="643473" y="5566"/>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1" tIns="143401" rIns="179251" bIns="143401" numCol="1" spcCol="0" rtlCol="0" fromWordArt="0" anchor="t" anchorCtr="0" forceAA="0" compatLnSpc="1">
              <a:prstTxWarp prst="textNoShape">
                <a:avLst/>
              </a:prstTxWarp>
              <a:noAutofit/>
            </a:bodyPr>
            <a:lstStyle/>
            <a:p>
              <a:pPr algn="ctr" defTabSz="913909" fontAlgn="base">
                <a:spcBef>
                  <a:spcPct val="0"/>
                </a:spcBef>
                <a:spcAft>
                  <a:spcPct val="0"/>
                </a:spcAft>
              </a:pPr>
              <a:endParaRPr lang="en-US" sz="3136"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202" name="Rectangle 201"/>
          <p:cNvSpPr/>
          <p:nvPr/>
        </p:nvSpPr>
        <p:spPr bwMode="auto">
          <a:xfrm>
            <a:off x="9807886" y="2979000"/>
            <a:ext cx="851438" cy="672187"/>
          </a:xfrm>
          <a:prstGeom prst="rect">
            <a:avLst/>
          </a:prstGeom>
          <a:solidFill>
            <a:srgbClr val="7F7F7F">
              <a:alpha val="1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a:solidFill>
                  <a:srgbClr val="FFFFFF"/>
                </a:solidFill>
              </a:rPr>
              <a:t>SQL database</a:t>
            </a:r>
          </a:p>
        </p:txBody>
      </p:sp>
      <p:pic>
        <p:nvPicPr>
          <p:cNvPr id="203" name="Picture 2"/>
          <p:cNvPicPr>
            <a:picLocks noChangeAspect="1" noChangeArrowheads="1"/>
          </p:cNvPicPr>
          <p:nvPr/>
        </p:nvPicPr>
        <p:blipFill>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10036030" y="3054362"/>
            <a:ext cx="395150" cy="35875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4" name="Rectangle 203"/>
          <p:cNvSpPr/>
          <p:nvPr/>
        </p:nvSpPr>
        <p:spPr bwMode="auto">
          <a:xfrm>
            <a:off x="8925264" y="2976482"/>
            <a:ext cx="851438" cy="672187"/>
          </a:xfrm>
          <a:prstGeom prst="rect">
            <a:avLst/>
          </a:prstGeom>
          <a:solidFill>
            <a:srgbClr val="7F7F7F">
              <a:alpha val="1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smtClean="0">
                <a:solidFill>
                  <a:srgbClr val="FFFFFF"/>
                </a:solidFill>
              </a:rPr>
              <a:t>HDInsight</a:t>
            </a:r>
            <a:endParaRPr lang="en-US" sz="783" b="1" dirty="0">
              <a:solidFill>
                <a:srgbClr val="FFFFFF"/>
              </a:solidFill>
            </a:endParaRPr>
          </a:p>
        </p:txBody>
      </p:sp>
      <p:pic>
        <p:nvPicPr>
          <p:cNvPr id="205" name="Picture 3"/>
          <p:cNvPicPr>
            <a:picLocks noChangeAspect="1" noChangeArrowheads="1"/>
          </p:cNvPicPr>
          <p:nvPr/>
        </p:nvPicPr>
        <p:blipFill>
          <a:blip r:embed="rId10" cstate="email">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9137571" y="3020290"/>
            <a:ext cx="426824" cy="421861"/>
          </a:xfrm>
          <a:prstGeom prst="rect">
            <a:avLst/>
          </a:prstGeom>
          <a:noFill/>
          <a:extLst>
            <a:ext uri="{909E8E84-426E-40DD-AFC4-6F175D3DCCD1}">
              <a14:hiddenFill xmlns:a14="http://schemas.microsoft.com/office/drawing/2010/main">
                <a:solidFill>
                  <a:srgbClr val="FFFFFF"/>
                </a:solidFill>
              </a14:hiddenFill>
            </a:ext>
          </a:extLst>
        </p:spPr>
      </p:pic>
      <p:sp>
        <p:nvSpPr>
          <p:cNvPr id="206" name="Rectangle 205"/>
          <p:cNvSpPr/>
          <p:nvPr/>
        </p:nvSpPr>
        <p:spPr bwMode="auto">
          <a:xfrm>
            <a:off x="8033304" y="2979000"/>
            <a:ext cx="851438" cy="672187"/>
          </a:xfrm>
          <a:prstGeom prst="rect">
            <a:avLst/>
          </a:prstGeom>
          <a:solidFill>
            <a:srgbClr val="7F7F7F">
              <a:alpha val="1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a:solidFill>
                  <a:srgbClr val="FFFFFF"/>
                </a:solidFill>
              </a:rPr>
              <a:t>Backup</a:t>
            </a:r>
          </a:p>
        </p:txBody>
      </p:sp>
      <p:pic>
        <p:nvPicPr>
          <p:cNvPr id="207" name="Picture 206"/>
          <p:cNvPicPr>
            <a:picLocks noChangeAspect="1"/>
          </p:cNvPicPr>
          <p:nvPr/>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a:xfrm>
            <a:off x="8229876" y="3026689"/>
            <a:ext cx="466179" cy="418366"/>
          </a:xfrm>
          <a:prstGeom prst="rect">
            <a:avLst/>
          </a:prstGeom>
        </p:spPr>
      </p:pic>
      <p:sp>
        <p:nvSpPr>
          <p:cNvPr id="208" name="Rectangle 207"/>
          <p:cNvSpPr/>
          <p:nvPr/>
        </p:nvSpPr>
        <p:spPr bwMode="auto">
          <a:xfrm>
            <a:off x="7149483" y="2978349"/>
            <a:ext cx="851438" cy="672187"/>
          </a:xfrm>
          <a:prstGeom prst="rect">
            <a:avLst/>
          </a:prstGeom>
          <a:solidFill>
            <a:srgbClr val="7F7F7F">
              <a:alpha val="10000"/>
            </a:srgbClr>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a:solidFill>
                  <a:srgbClr val="FFFFFF"/>
                </a:solidFill>
              </a:rPr>
              <a:t>Site </a:t>
            </a:r>
            <a:r>
              <a:rPr lang="en-US" sz="783" b="1" dirty="0">
                <a:solidFill>
                  <a:srgbClr val="FFFFFF"/>
                </a:solidFill>
              </a:rPr>
              <a:t>R</a:t>
            </a:r>
            <a:r>
              <a:rPr lang="en-US" sz="783" b="1" dirty="0" smtClean="0">
                <a:solidFill>
                  <a:srgbClr val="FFFFFF"/>
                </a:solidFill>
              </a:rPr>
              <a:t>ecovery</a:t>
            </a:r>
            <a:endParaRPr lang="en-US" sz="783" b="1" dirty="0">
              <a:solidFill>
                <a:srgbClr val="FFFFFF"/>
              </a:solidFill>
            </a:endParaRPr>
          </a:p>
        </p:txBody>
      </p:sp>
      <p:sp>
        <p:nvSpPr>
          <p:cNvPr id="209" name="Rectangle 98"/>
          <p:cNvSpPr/>
          <p:nvPr/>
        </p:nvSpPr>
        <p:spPr>
          <a:xfrm>
            <a:off x="7359816" y="3072211"/>
            <a:ext cx="437118" cy="361229"/>
          </a:xfrm>
          <a:custGeom>
            <a:avLst/>
            <a:gdLst/>
            <a:ahLst/>
            <a:cxnLst/>
            <a:rect l="l" t="t" r="r" b="b"/>
            <a:pathLst>
              <a:path w="2743200" h="2266950">
                <a:moveTo>
                  <a:pt x="2064913" y="1560574"/>
                </a:moveTo>
                <a:lnTo>
                  <a:pt x="2445633" y="1560574"/>
                </a:lnTo>
                <a:lnTo>
                  <a:pt x="2445633" y="1949450"/>
                </a:lnTo>
                <a:lnTo>
                  <a:pt x="2064913" y="1949450"/>
                </a:lnTo>
                <a:close/>
                <a:moveTo>
                  <a:pt x="1623077" y="1560574"/>
                </a:moveTo>
                <a:lnTo>
                  <a:pt x="2003797" y="1560574"/>
                </a:lnTo>
                <a:lnTo>
                  <a:pt x="2003797" y="1949450"/>
                </a:lnTo>
                <a:lnTo>
                  <a:pt x="1623077" y="1949450"/>
                </a:lnTo>
                <a:close/>
                <a:moveTo>
                  <a:pt x="1181240" y="1560574"/>
                </a:moveTo>
                <a:lnTo>
                  <a:pt x="1561960" y="1560574"/>
                </a:lnTo>
                <a:lnTo>
                  <a:pt x="1561960" y="1949450"/>
                </a:lnTo>
                <a:lnTo>
                  <a:pt x="1181240" y="1949450"/>
                </a:lnTo>
                <a:close/>
                <a:moveTo>
                  <a:pt x="739404" y="1560574"/>
                </a:moveTo>
                <a:lnTo>
                  <a:pt x="1120124" y="1560574"/>
                </a:lnTo>
                <a:lnTo>
                  <a:pt x="1120124" y="1949450"/>
                </a:lnTo>
                <a:lnTo>
                  <a:pt x="739404" y="1949450"/>
                </a:lnTo>
                <a:close/>
                <a:moveTo>
                  <a:pt x="297567" y="1560574"/>
                </a:moveTo>
                <a:lnTo>
                  <a:pt x="678287" y="1560574"/>
                </a:lnTo>
                <a:lnTo>
                  <a:pt x="678287" y="1949450"/>
                </a:lnTo>
                <a:lnTo>
                  <a:pt x="297567" y="1949450"/>
                </a:lnTo>
                <a:close/>
                <a:moveTo>
                  <a:pt x="2064913" y="1110488"/>
                </a:moveTo>
                <a:lnTo>
                  <a:pt x="2445633" y="1110488"/>
                </a:lnTo>
                <a:lnTo>
                  <a:pt x="2445633" y="1499364"/>
                </a:lnTo>
                <a:lnTo>
                  <a:pt x="2064913" y="1499364"/>
                </a:lnTo>
                <a:close/>
                <a:moveTo>
                  <a:pt x="1623077" y="1110488"/>
                </a:moveTo>
                <a:lnTo>
                  <a:pt x="2003797" y="1110488"/>
                </a:lnTo>
                <a:lnTo>
                  <a:pt x="2003797" y="1499364"/>
                </a:lnTo>
                <a:lnTo>
                  <a:pt x="1623077" y="1499364"/>
                </a:lnTo>
                <a:close/>
                <a:moveTo>
                  <a:pt x="1181240" y="1110488"/>
                </a:moveTo>
                <a:lnTo>
                  <a:pt x="1561960" y="1110488"/>
                </a:lnTo>
                <a:lnTo>
                  <a:pt x="1561960" y="1499364"/>
                </a:lnTo>
                <a:lnTo>
                  <a:pt x="1181240" y="1499364"/>
                </a:lnTo>
                <a:close/>
                <a:moveTo>
                  <a:pt x="739404" y="1110488"/>
                </a:moveTo>
                <a:lnTo>
                  <a:pt x="1120124" y="1110488"/>
                </a:lnTo>
                <a:lnTo>
                  <a:pt x="1120124" y="1499364"/>
                </a:lnTo>
                <a:lnTo>
                  <a:pt x="739404" y="1499364"/>
                </a:lnTo>
                <a:close/>
                <a:moveTo>
                  <a:pt x="297567" y="1110488"/>
                </a:moveTo>
                <a:lnTo>
                  <a:pt x="678287" y="1110488"/>
                </a:lnTo>
                <a:lnTo>
                  <a:pt x="678287" y="1499364"/>
                </a:lnTo>
                <a:lnTo>
                  <a:pt x="297567" y="1499364"/>
                </a:lnTo>
                <a:close/>
                <a:moveTo>
                  <a:pt x="2064913" y="660401"/>
                </a:moveTo>
                <a:lnTo>
                  <a:pt x="2445633" y="660401"/>
                </a:lnTo>
                <a:lnTo>
                  <a:pt x="2445633" y="1049277"/>
                </a:lnTo>
                <a:lnTo>
                  <a:pt x="2064913" y="1049277"/>
                </a:lnTo>
                <a:close/>
                <a:moveTo>
                  <a:pt x="1623077" y="660401"/>
                </a:moveTo>
                <a:lnTo>
                  <a:pt x="2003797" y="660401"/>
                </a:lnTo>
                <a:lnTo>
                  <a:pt x="2003797" y="1049277"/>
                </a:lnTo>
                <a:lnTo>
                  <a:pt x="1623077" y="1049277"/>
                </a:lnTo>
                <a:close/>
                <a:moveTo>
                  <a:pt x="1181240" y="660401"/>
                </a:moveTo>
                <a:lnTo>
                  <a:pt x="1561960" y="660401"/>
                </a:lnTo>
                <a:lnTo>
                  <a:pt x="1561960" y="1049277"/>
                </a:lnTo>
                <a:lnTo>
                  <a:pt x="1181240" y="1049277"/>
                </a:lnTo>
                <a:close/>
                <a:moveTo>
                  <a:pt x="739404" y="660401"/>
                </a:moveTo>
                <a:lnTo>
                  <a:pt x="1120124" y="660401"/>
                </a:lnTo>
                <a:lnTo>
                  <a:pt x="1120124" y="1049277"/>
                </a:lnTo>
                <a:lnTo>
                  <a:pt x="739404" y="1049277"/>
                </a:lnTo>
                <a:close/>
                <a:moveTo>
                  <a:pt x="297567" y="660401"/>
                </a:moveTo>
                <a:lnTo>
                  <a:pt x="678287" y="660401"/>
                </a:lnTo>
                <a:lnTo>
                  <a:pt x="678287" y="1049277"/>
                </a:lnTo>
                <a:lnTo>
                  <a:pt x="297567" y="1049277"/>
                </a:lnTo>
                <a:close/>
                <a:moveTo>
                  <a:pt x="182880" y="533400"/>
                </a:moveTo>
                <a:lnTo>
                  <a:pt x="182880" y="2076450"/>
                </a:lnTo>
                <a:lnTo>
                  <a:pt x="2560320" y="2076450"/>
                </a:lnTo>
                <a:lnTo>
                  <a:pt x="2560320" y="533400"/>
                </a:lnTo>
                <a:close/>
                <a:moveTo>
                  <a:pt x="174623" y="0"/>
                </a:moveTo>
                <a:lnTo>
                  <a:pt x="2568577" y="0"/>
                </a:lnTo>
                <a:cubicBezTo>
                  <a:pt x="2665019" y="0"/>
                  <a:pt x="2743200" y="78181"/>
                  <a:pt x="2743200" y="174623"/>
                </a:cubicBezTo>
                <a:lnTo>
                  <a:pt x="2743200" y="2092327"/>
                </a:lnTo>
                <a:cubicBezTo>
                  <a:pt x="2743200" y="2188769"/>
                  <a:pt x="2665019" y="2266950"/>
                  <a:pt x="2568577" y="2266950"/>
                </a:cubicBezTo>
                <a:lnTo>
                  <a:pt x="174623" y="2266950"/>
                </a:lnTo>
                <a:cubicBezTo>
                  <a:pt x="78181" y="2266950"/>
                  <a:pt x="0" y="2188769"/>
                  <a:pt x="0" y="2092327"/>
                </a:cubicBezTo>
                <a:lnTo>
                  <a:pt x="0" y="174623"/>
                </a:lnTo>
                <a:cubicBezTo>
                  <a:pt x="0" y="78181"/>
                  <a:pt x="78181" y="0"/>
                  <a:pt x="17462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25" tIns="89625" rIns="89625" bIns="89625" numCol="1" spcCol="0" rtlCol="0" fromWordArt="0" anchor="b" anchorCtr="0" forceAA="0" compatLnSpc="1">
            <a:prstTxWarp prst="textNoShape">
              <a:avLst/>
            </a:prstTxWarp>
            <a:noAutofit/>
          </a:bodyPr>
          <a:lstStyle/>
          <a:p>
            <a:pPr algn="r"/>
            <a:endParaRPr lang="en-US" sz="1176" dirty="0">
              <a:solidFill>
                <a:srgbClr val="FFFFFF"/>
              </a:solidFill>
            </a:endParaRPr>
          </a:p>
        </p:txBody>
      </p:sp>
      <p:sp>
        <p:nvSpPr>
          <p:cNvPr id="220" name="Rectangle 219"/>
          <p:cNvSpPr/>
          <p:nvPr/>
        </p:nvSpPr>
        <p:spPr bwMode="auto">
          <a:xfrm>
            <a:off x="521911" y="1712828"/>
            <a:ext cx="6011752" cy="79080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0" rIns="91440" bIns="0" numCol="1" spcCol="0" rtlCol="0" fromWordArt="0" anchor="t" anchorCtr="0" forceAA="0" compatLnSpc="1">
            <a:prstTxWarp prst="textNoShape">
              <a:avLst/>
            </a:prstTxWarp>
            <a:noAutofit/>
          </a:bodyPr>
          <a:lstStyle/>
          <a:p>
            <a:pPr fontAlgn="t">
              <a:defRPr/>
            </a:pPr>
            <a:r>
              <a:rPr lang="en-US" sz="2800" dirty="0" smtClean="0">
                <a:solidFill>
                  <a:srgbClr val="FFFFFF"/>
                </a:solidFill>
                <a:latin typeface="Segoe UI Light"/>
                <a:cs typeface="Segoe UI" panose="020B0502040204020203" pitchFamily="34" charset="0"/>
              </a:rPr>
              <a:t>Monetary </a:t>
            </a:r>
            <a:r>
              <a:rPr lang="en-US" sz="2800" dirty="0">
                <a:solidFill>
                  <a:srgbClr val="FFFFFF"/>
                </a:solidFill>
                <a:latin typeface="Segoe UI Light"/>
                <a:cs typeface="Segoe UI" panose="020B0502040204020203" pitchFamily="34" charset="0"/>
              </a:rPr>
              <a:t>c</a:t>
            </a:r>
            <a:r>
              <a:rPr lang="en-US" sz="2800" dirty="0" smtClean="0">
                <a:solidFill>
                  <a:srgbClr val="FFFFFF"/>
                </a:solidFill>
                <a:latin typeface="Segoe UI Light"/>
                <a:cs typeface="Segoe UI" panose="020B0502040204020203" pitchFamily="34" charset="0"/>
              </a:rPr>
              <a:t>ommitment</a:t>
            </a:r>
            <a:endParaRPr lang="en-US" sz="2800" dirty="0">
              <a:solidFill>
                <a:srgbClr val="FFFFFF"/>
              </a:solidFill>
              <a:latin typeface="Segoe UI Light"/>
              <a:cs typeface="Segoe UI" panose="020B0502040204020203" pitchFamily="34" charset="0"/>
            </a:endParaRPr>
          </a:p>
          <a:p>
            <a:pPr fontAlgn="t">
              <a:defRPr/>
            </a:pPr>
            <a:r>
              <a:rPr lang="en-US" sz="2000" dirty="0">
                <a:solidFill>
                  <a:srgbClr val="FFFFFF"/>
                </a:solidFill>
                <a:latin typeface="Segoe UI Light"/>
                <a:ea typeface="Segoe UI" panose="020B0502040204020203" pitchFamily="34" charset="0"/>
                <a:cs typeface="Segoe UI" panose="020B0502040204020203" pitchFamily="34" charset="0"/>
              </a:rPr>
              <a:t>Prepay option for your </a:t>
            </a:r>
            <a:r>
              <a:rPr lang="en-US" sz="2000" dirty="0" smtClean="0">
                <a:solidFill>
                  <a:srgbClr val="FFFFFF"/>
                </a:solidFill>
                <a:latin typeface="Segoe UI Light"/>
                <a:ea typeface="Segoe UI" panose="020B0502040204020203" pitchFamily="34" charset="0"/>
                <a:cs typeface="Segoe UI" panose="020B0502040204020203" pitchFamily="34" charset="0"/>
              </a:rPr>
              <a:t>usage</a:t>
            </a:r>
            <a:endParaRPr lang="en-US" sz="2000" dirty="0">
              <a:solidFill>
                <a:srgbClr val="FFFFFF"/>
              </a:solidFill>
              <a:latin typeface="Segoe UI Light"/>
              <a:ea typeface="Segoe UI" panose="020B0502040204020203" pitchFamily="34" charset="0"/>
              <a:cs typeface="Segoe UI" panose="020B0502040204020203" pitchFamily="34" charset="0"/>
            </a:endParaRPr>
          </a:p>
        </p:txBody>
      </p:sp>
      <p:sp>
        <p:nvSpPr>
          <p:cNvPr id="221" name="Rectangle 220"/>
          <p:cNvSpPr/>
          <p:nvPr/>
        </p:nvSpPr>
        <p:spPr bwMode="auto">
          <a:xfrm>
            <a:off x="521911" y="4725448"/>
            <a:ext cx="6011752" cy="7261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91440" tIns="0" rIns="91440" bIns="0" numCol="1" spcCol="0" rtlCol="0" fromWordArt="0" anchor="ctr" anchorCtr="0" forceAA="0" compatLnSpc="1">
            <a:prstTxWarp prst="textNoShape">
              <a:avLst/>
            </a:prstTxWarp>
            <a:noAutofit/>
          </a:bodyPr>
          <a:lstStyle/>
          <a:p>
            <a:pPr fontAlgn="t">
              <a:defRPr/>
            </a:pPr>
            <a:endParaRPr lang="en-US" sz="2561" dirty="0">
              <a:solidFill>
                <a:srgbClr val="000000"/>
              </a:solidFill>
              <a:latin typeface="Segoe UI Bold" panose="020B0802040204020203" pitchFamily="34" charset="0"/>
              <a:ea typeface="Segoe UI" pitchFamily="34" charset="0"/>
              <a:cs typeface="Segoe UI Bold" panose="020B0802040204020203" pitchFamily="34" charset="0"/>
            </a:endParaRPr>
          </a:p>
          <a:p>
            <a:pPr fontAlgn="t">
              <a:defRPr/>
            </a:pPr>
            <a:endParaRPr lang="en-US" sz="731" dirty="0">
              <a:solidFill>
                <a:srgbClr val="000000"/>
              </a:solidFill>
              <a:latin typeface="Segoe UI Semibold" panose="020B0702040204020203" pitchFamily="34" charset="0"/>
              <a:ea typeface="Segoe UI" pitchFamily="34" charset="0"/>
              <a:cs typeface="Segoe UI" pitchFamily="34" charset="0"/>
            </a:endParaRPr>
          </a:p>
        </p:txBody>
      </p:sp>
    </p:spTree>
    <p:extLst>
      <p:ext uri="{BB962C8B-B14F-4D97-AF65-F5344CB8AC3E}">
        <p14:creationId xmlns:p14="http://schemas.microsoft.com/office/powerpoint/2010/main" val="176165233"/>
      </p:ext>
    </p:extLst>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8" name="Group 77"/>
          <p:cNvGrpSpPr/>
          <p:nvPr/>
        </p:nvGrpSpPr>
        <p:grpSpPr>
          <a:xfrm>
            <a:off x="7215955" y="2036678"/>
            <a:ext cx="3872406" cy="4610229"/>
            <a:chOff x="9461799" y="1922406"/>
            <a:chExt cx="4234252" cy="5041019"/>
          </a:xfrm>
        </p:grpSpPr>
        <p:sp>
          <p:nvSpPr>
            <p:cNvPr id="79" name="Rectangle 78"/>
            <p:cNvSpPr/>
            <p:nvPr/>
          </p:nvSpPr>
          <p:spPr bwMode="auto">
            <a:xfrm>
              <a:off x="9461799" y="1922406"/>
              <a:ext cx="4234252" cy="5041019"/>
            </a:xfrm>
            <a:prstGeom prst="rect">
              <a:avLst/>
            </a:prstGeom>
            <a:solidFill>
              <a:schemeClr val="bg1"/>
            </a:solidFill>
            <a:ln w="9525">
              <a:solidFill>
                <a:schemeClr val="bg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38" tIns="41813" rIns="134438" bIns="89625" numCol="1" spcCol="0" rtlCol="0" fromWordArt="0" anchor="t" anchorCtr="0" forceAA="0" compatLnSpc="1">
              <a:prstTxWarp prst="textNoShape">
                <a:avLst/>
              </a:prstTxWarp>
              <a:noAutofit/>
            </a:bodyPr>
            <a:lstStyle/>
            <a:p>
              <a:pPr algn="ctr" defTabSz="913998">
                <a:spcBef>
                  <a:spcPts val="1765"/>
                </a:spcBef>
                <a:spcAft>
                  <a:spcPts val="1176"/>
                </a:spcAft>
              </a:pPr>
              <a:r>
                <a:rPr lang="en-US" sz="1464" dirty="0">
                  <a:solidFill>
                    <a:srgbClr val="000000">
                      <a:lumMod val="50000"/>
                      <a:lumOff val="50000"/>
                    </a:srgbClr>
                  </a:solidFill>
                  <a:latin typeface="Segoe UI Semibold" panose="020B0702040204020203" pitchFamily="34" charset="0"/>
                </a:rPr>
                <a:t>Pay </a:t>
              </a:r>
              <a:r>
                <a:rPr lang="en-US" sz="1464" dirty="0" smtClean="0">
                  <a:solidFill>
                    <a:srgbClr val="000000">
                      <a:lumMod val="50000"/>
                      <a:lumOff val="50000"/>
                    </a:srgbClr>
                  </a:solidFill>
                  <a:latin typeface="Segoe UI Semibold" panose="020B0702040204020203" pitchFamily="34" charset="0"/>
                </a:rPr>
                <a:t>as you </a:t>
              </a:r>
              <a:r>
                <a:rPr lang="en-US" sz="1464" dirty="0">
                  <a:solidFill>
                    <a:srgbClr val="000000">
                      <a:lumMod val="50000"/>
                      <a:lumOff val="50000"/>
                    </a:srgbClr>
                  </a:solidFill>
                  <a:latin typeface="Segoe UI Semibold" panose="020B0702040204020203" pitchFamily="34" charset="0"/>
                </a:rPr>
                <a:t>g</a:t>
              </a:r>
              <a:r>
                <a:rPr lang="en-US" sz="1464" dirty="0" smtClean="0">
                  <a:solidFill>
                    <a:srgbClr val="000000">
                      <a:lumMod val="50000"/>
                      <a:lumOff val="50000"/>
                    </a:srgbClr>
                  </a:solidFill>
                  <a:latin typeface="Segoe UI Semibold" panose="020B0702040204020203" pitchFamily="34" charset="0"/>
                </a:rPr>
                <a:t>o</a:t>
              </a:r>
              <a:endParaRPr lang="en-US" sz="1464" dirty="0">
                <a:solidFill>
                  <a:srgbClr val="000000">
                    <a:lumMod val="50000"/>
                    <a:lumOff val="50000"/>
                  </a:srgbClr>
                </a:solidFill>
                <a:latin typeface="Segoe UI Semibold" panose="020B0702040204020203" pitchFamily="34" charset="0"/>
              </a:endParaRPr>
            </a:p>
          </p:txBody>
        </p:sp>
        <p:grpSp>
          <p:nvGrpSpPr>
            <p:cNvPr id="80" name="Group 79"/>
            <p:cNvGrpSpPr/>
            <p:nvPr/>
          </p:nvGrpSpPr>
          <p:grpSpPr>
            <a:xfrm>
              <a:off x="9591673" y="6012698"/>
              <a:ext cx="3968425" cy="862398"/>
              <a:chOff x="554883" y="5358815"/>
              <a:chExt cx="3702792" cy="804672"/>
            </a:xfrm>
          </p:grpSpPr>
          <p:sp>
            <p:nvSpPr>
              <p:cNvPr id="136" name="Rectangle 135"/>
              <p:cNvSpPr/>
              <p:nvPr/>
            </p:nvSpPr>
            <p:spPr bwMode="auto">
              <a:xfrm>
                <a:off x="554883" y="5358815"/>
                <a:ext cx="3702792" cy="804672"/>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12" tIns="44812" rIns="44812" bIns="44812" numCol="1" rtlCol="0" anchor="b" anchorCtr="0" compatLnSpc="1">
                <a:prstTxWarp prst="textNoShape">
                  <a:avLst/>
                </a:prstTxWarp>
              </a:bodyPr>
              <a:lstStyle/>
              <a:p>
                <a:pPr algn="ctr" defTabSz="913731" fontAlgn="base">
                  <a:spcBef>
                    <a:spcPct val="0"/>
                  </a:spcBef>
                  <a:spcAft>
                    <a:spcPct val="0"/>
                  </a:spcAft>
                </a:pPr>
                <a:endParaRPr lang="en-US" sz="882" dirty="0">
                  <a:solidFill>
                    <a:srgbClr val="FFFFFF"/>
                  </a:solidFill>
                </a:endParaRPr>
              </a:p>
            </p:txBody>
          </p:sp>
          <p:grpSp>
            <p:nvGrpSpPr>
              <p:cNvPr id="137" name="Group 136"/>
              <p:cNvGrpSpPr/>
              <p:nvPr/>
            </p:nvGrpSpPr>
            <p:grpSpPr>
              <a:xfrm>
                <a:off x="614049" y="5418251"/>
                <a:ext cx="3584461" cy="685800"/>
                <a:chOff x="-3552475" y="5417010"/>
                <a:chExt cx="3584461" cy="685800"/>
              </a:xfrm>
            </p:grpSpPr>
            <p:sp>
              <p:nvSpPr>
                <p:cNvPr id="138" name="Rectangle 137"/>
                <p:cNvSpPr/>
                <p:nvPr/>
              </p:nvSpPr>
              <p:spPr bwMode="auto">
                <a:xfrm>
                  <a:off x="-3552475" y="5417010"/>
                  <a:ext cx="868680" cy="685800"/>
                </a:xfrm>
                <a:prstGeom prst="rect">
                  <a:avLst/>
                </a:prstGeom>
                <a:solidFill>
                  <a:schemeClr val="bg1">
                    <a:alpha val="10000"/>
                  </a:schemeClr>
                </a:solidFill>
                <a:ln w="3175">
                  <a:solidFill>
                    <a:schemeClr val="bg1">
                      <a:lumMod val="9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a:solidFill>
                        <a:srgbClr val="FFFFFF"/>
                      </a:solidFill>
                    </a:rPr>
                    <a:t>ExpressRoute</a:t>
                  </a:r>
                </a:p>
              </p:txBody>
            </p:sp>
            <p:sp>
              <p:nvSpPr>
                <p:cNvPr id="139" name="Rectangle 138"/>
                <p:cNvSpPr/>
                <p:nvPr/>
              </p:nvSpPr>
              <p:spPr bwMode="auto">
                <a:xfrm>
                  <a:off x="-2647215" y="5417010"/>
                  <a:ext cx="868680" cy="685800"/>
                </a:xfrm>
                <a:prstGeom prst="rect">
                  <a:avLst/>
                </a:prstGeom>
                <a:solidFill>
                  <a:schemeClr val="bg1">
                    <a:alpha val="10000"/>
                  </a:schemeClr>
                </a:solidFill>
                <a:ln w="3175">
                  <a:solidFill>
                    <a:schemeClr val="bg1">
                      <a:lumMod val="9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a:solidFill>
                        <a:srgbClr val="FFFFFF"/>
                      </a:solidFill>
                    </a:rPr>
                    <a:t>Virtual Network</a:t>
                  </a:r>
                </a:p>
              </p:txBody>
            </p:sp>
            <p:sp>
              <p:nvSpPr>
                <p:cNvPr id="140" name="Rectangle 139"/>
                <p:cNvSpPr/>
                <p:nvPr/>
              </p:nvSpPr>
              <p:spPr bwMode="auto">
                <a:xfrm>
                  <a:off x="-1741955" y="5417010"/>
                  <a:ext cx="868680" cy="685800"/>
                </a:xfrm>
                <a:prstGeom prst="rect">
                  <a:avLst/>
                </a:prstGeom>
                <a:solidFill>
                  <a:schemeClr val="bg1">
                    <a:alpha val="10000"/>
                  </a:schemeClr>
                </a:solidFill>
                <a:ln w="3175">
                  <a:solidFill>
                    <a:schemeClr val="bg1">
                      <a:lumMod val="9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a:solidFill>
                        <a:srgbClr val="FFFFFF"/>
                      </a:solidFill>
                    </a:rPr>
                    <a:t>Data Transfer</a:t>
                  </a:r>
                </a:p>
              </p:txBody>
            </p:sp>
            <p:sp>
              <p:nvSpPr>
                <p:cNvPr id="141" name="Rectangle 140"/>
                <p:cNvSpPr/>
                <p:nvPr/>
              </p:nvSpPr>
              <p:spPr bwMode="auto">
                <a:xfrm>
                  <a:off x="-836694" y="5417010"/>
                  <a:ext cx="868680" cy="685800"/>
                </a:xfrm>
                <a:prstGeom prst="rect">
                  <a:avLst/>
                </a:prstGeom>
                <a:solidFill>
                  <a:schemeClr val="bg1">
                    <a:alpha val="10000"/>
                  </a:schemeClr>
                </a:solidFill>
                <a:ln w="3175">
                  <a:solidFill>
                    <a:schemeClr val="bg1">
                      <a:lumMod val="9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a:solidFill>
                        <a:srgbClr val="FFFFFF"/>
                      </a:solidFill>
                    </a:rPr>
                    <a:t>Traffic Manager</a:t>
                  </a:r>
                </a:p>
              </p:txBody>
            </p:sp>
            <p:sp>
              <p:nvSpPr>
                <p:cNvPr id="142" name="Freeform 58"/>
                <p:cNvSpPr>
                  <a:spLocks noEditPoints="1"/>
                </p:cNvSpPr>
                <p:nvPr/>
              </p:nvSpPr>
              <p:spPr bwMode="black">
                <a:xfrm>
                  <a:off x="-3256068" y="5518633"/>
                  <a:ext cx="275866" cy="295676"/>
                </a:xfrm>
                <a:custGeom>
                  <a:avLst/>
                  <a:gdLst>
                    <a:gd name="T0" fmla="*/ 181 w 182"/>
                    <a:gd name="T1" fmla="*/ 65 h 195"/>
                    <a:gd name="T2" fmla="*/ 88 w 182"/>
                    <a:gd name="T3" fmla="*/ 0 h 195"/>
                    <a:gd name="T4" fmla="*/ 88 w 182"/>
                    <a:gd name="T5" fmla="*/ 40 h 195"/>
                    <a:gd name="T6" fmla="*/ 1 w 182"/>
                    <a:gd name="T7" fmla="*/ 40 h 195"/>
                    <a:gd name="T8" fmla="*/ 1 w 182"/>
                    <a:gd name="T9" fmla="*/ 89 h 195"/>
                    <a:gd name="T10" fmla="*/ 57 w 182"/>
                    <a:gd name="T11" fmla="*/ 89 h 195"/>
                    <a:gd name="T12" fmla="*/ 88 w 182"/>
                    <a:gd name="T13" fmla="*/ 68 h 195"/>
                    <a:gd name="T14" fmla="*/ 88 w 182"/>
                    <a:gd name="T15" fmla="*/ 130 h 195"/>
                    <a:gd name="T16" fmla="*/ 181 w 182"/>
                    <a:gd name="T17" fmla="*/ 65 h 195"/>
                    <a:gd name="T18" fmla="*/ 19 w 182"/>
                    <a:gd name="T19" fmla="*/ 127 h 195"/>
                    <a:gd name="T20" fmla="*/ 88 w 182"/>
                    <a:gd name="T21" fmla="*/ 172 h 195"/>
                    <a:gd name="T22" fmla="*/ 88 w 182"/>
                    <a:gd name="T23" fmla="*/ 142 h 195"/>
                    <a:gd name="T24" fmla="*/ 178 w 182"/>
                    <a:gd name="T25" fmla="*/ 142 h 195"/>
                    <a:gd name="T26" fmla="*/ 178 w 182"/>
                    <a:gd name="T27" fmla="*/ 153 h 195"/>
                    <a:gd name="T28" fmla="*/ 100 w 182"/>
                    <a:gd name="T29" fmla="*/ 153 h 195"/>
                    <a:gd name="T30" fmla="*/ 100 w 182"/>
                    <a:gd name="T31" fmla="*/ 195 h 195"/>
                    <a:gd name="T32" fmla="*/ 0 w 182"/>
                    <a:gd name="T33" fmla="*/ 127 h 195"/>
                    <a:gd name="T34" fmla="*/ 19 w 182"/>
                    <a:gd name="T35" fmla="*/ 127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2" h="195">
                      <a:moveTo>
                        <a:pt x="181" y="65"/>
                      </a:moveTo>
                      <a:cubicBezTo>
                        <a:pt x="88" y="0"/>
                        <a:pt x="88" y="0"/>
                        <a:pt x="88" y="0"/>
                      </a:cubicBezTo>
                      <a:cubicBezTo>
                        <a:pt x="88" y="40"/>
                        <a:pt x="88" y="40"/>
                        <a:pt x="88" y="40"/>
                      </a:cubicBezTo>
                      <a:cubicBezTo>
                        <a:pt x="1" y="40"/>
                        <a:pt x="1" y="40"/>
                        <a:pt x="1" y="40"/>
                      </a:cubicBezTo>
                      <a:cubicBezTo>
                        <a:pt x="1" y="89"/>
                        <a:pt x="1" y="89"/>
                        <a:pt x="1" y="89"/>
                      </a:cubicBezTo>
                      <a:cubicBezTo>
                        <a:pt x="57" y="89"/>
                        <a:pt x="57" y="89"/>
                        <a:pt x="57" y="89"/>
                      </a:cubicBezTo>
                      <a:cubicBezTo>
                        <a:pt x="88" y="68"/>
                        <a:pt x="88" y="68"/>
                        <a:pt x="88" y="68"/>
                      </a:cubicBezTo>
                      <a:cubicBezTo>
                        <a:pt x="88" y="130"/>
                        <a:pt x="88" y="130"/>
                        <a:pt x="88" y="130"/>
                      </a:cubicBezTo>
                      <a:cubicBezTo>
                        <a:pt x="181" y="65"/>
                        <a:pt x="181" y="65"/>
                        <a:pt x="181" y="65"/>
                      </a:cubicBezTo>
                      <a:close/>
                      <a:moveTo>
                        <a:pt x="19" y="127"/>
                      </a:moveTo>
                      <a:cubicBezTo>
                        <a:pt x="88" y="172"/>
                        <a:pt x="88" y="172"/>
                        <a:pt x="88" y="172"/>
                      </a:cubicBezTo>
                      <a:cubicBezTo>
                        <a:pt x="88" y="142"/>
                        <a:pt x="88" y="142"/>
                        <a:pt x="88" y="142"/>
                      </a:cubicBezTo>
                      <a:cubicBezTo>
                        <a:pt x="178" y="142"/>
                        <a:pt x="178" y="142"/>
                        <a:pt x="178" y="142"/>
                      </a:cubicBezTo>
                      <a:cubicBezTo>
                        <a:pt x="182" y="142"/>
                        <a:pt x="182" y="153"/>
                        <a:pt x="178" y="153"/>
                      </a:cubicBezTo>
                      <a:cubicBezTo>
                        <a:pt x="100" y="153"/>
                        <a:pt x="100" y="153"/>
                        <a:pt x="100" y="153"/>
                      </a:cubicBezTo>
                      <a:cubicBezTo>
                        <a:pt x="100" y="195"/>
                        <a:pt x="100" y="195"/>
                        <a:pt x="100" y="195"/>
                      </a:cubicBezTo>
                      <a:cubicBezTo>
                        <a:pt x="0" y="127"/>
                        <a:pt x="0" y="127"/>
                        <a:pt x="0" y="127"/>
                      </a:cubicBezTo>
                      <a:cubicBezTo>
                        <a:pt x="19" y="127"/>
                        <a:pt x="19" y="127"/>
                        <a:pt x="19" y="127"/>
                      </a:cubicBezTo>
                      <a:close/>
                    </a:path>
                  </a:pathLst>
                </a:custGeom>
                <a:solidFill>
                  <a:schemeClr val="bg1"/>
                </a:solidFill>
                <a:ln>
                  <a:noFill/>
                </a:ln>
              </p:spPr>
              <p:txBody>
                <a:bodyPr vert="horz" wrap="square" lIns="82277" tIns="41139" rIns="82277" bIns="41139" numCol="1" anchor="t" anchorCtr="0" compatLnSpc="1">
                  <a:prstTxWarp prst="textNoShape">
                    <a:avLst/>
                  </a:prstTxWarp>
                </a:bodyPr>
                <a:lstStyle/>
                <a:p>
                  <a:pPr defTabSz="684563"/>
                  <a:endParaRPr lang="en-US" sz="1000" dirty="0">
                    <a:solidFill>
                      <a:srgbClr val="FFFFFF"/>
                    </a:solidFill>
                  </a:endParaRPr>
                </a:p>
              </p:txBody>
            </p:sp>
            <p:sp>
              <p:nvSpPr>
                <p:cNvPr id="143" name="Freeform 78"/>
                <p:cNvSpPr>
                  <a:spLocks noEditPoints="1"/>
                </p:cNvSpPr>
                <p:nvPr/>
              </p:nvSpPr>
              <p:spPr bwMode="black">
                <a:xfrm>
                  <a:off x="-2411180" y="5476691"/>
                  <a:ext cx="396610" cy="379560"/>
                </a:xfrm>
                <a:custGeom>
                  <a:avLst/>
                  <a:gdLst>
                    <a:gd name="T0" fmla="*/ 1448 w 2291"/>
                    <a:gd name="T1" fmla="*/ 923 h 2197"/>
                    <a:gd name="T2" fmla="*/ 1464 w 2291"/>
                    <a:gd name="T3" fmla="*/ 1048 h 2197"/>
                    <a:gd name="T4" fmla="*/ 1622 w 2291"/>
                    <a:gd name="T5" fmla="*/ 1225 h 2197"/>
                    <a:gd name="T6" fmla="*/ 1522 w 2291"/>
                    <a:gd name="T7" fmla="*/ 1149 h 2197"/>
                    <a:gd name="T8" fmla="*/ 1622 w 2291"/>
                    <a:gd name="T9" fmla="*/ 1225 h 2197"/>
                    <a:gd name="T10" fmla="*/ 769 w 2291"/>
                    <a:gd name="T11" fmla="*/ 1149 h 2197"/>
                    <a:gd name="T12" fmla="*/ 669 w 2291"/>
                    <a:gd name="T13" fmla="*/ 1225 h 2197"/>
                    <a:gd name="T14" fmla="*/ 828 w 2291"/>
                    <a:gd name="T15" fmla="*/ 1048 h 2197"/>
                    <a:gd name="T16" fmla="*/ 844 w 2291"/>
                    <a:gd name="T17" fmla="*/ 923 h 2197"/>
                    <a:gd name="T18" fmla="*/ 828 w 2291"/>
                    <a:gd name="T19" fmla="*/ 1048 h 2197"/>
                    <a:gd name="T20" fmla="*/ 1390 w 2291"/>
                    <a:gd name="T21" fmla="*/ 540 h 2197"/>
                    <a:gd name="T22" fmla="*/ 1493 w 2291"/>
                    <a:gd name="T23" fmla="*/ 103 h 2197"/>
                    <a:gd name="T24" fmla="*/ 902 w 2291"/>
                    <a:gd name="T25" fmla="*/ 0 h 2197"/>
                    <a:gd name="T26" fmla="*/ 799 w 2291"/>
                    <a:gd name="T27" fmla="*/ 437 h 2197"/>
                    <a:gd name="T28" fmla="*/ 859 w 2291"/>
                    <a:gd name="T29" fmla="*/ 103 h 2197"/>
                    <a:gd name="T30" fmla="*/ 1390 w 2291"/>
                    <a:gd name="T31" fmla="*/ 60 h 2197"/>
                    <a:gd name="T32" fmla="*/ 1433 w 2291"/>
                    <a:gd name="T33" fmla="*/ 437 h 2197"/>
                    <a:gd name="T34" fmla="*/ 902 w 2291"/>
                    <a:gd name="T35" fmla="*/ 480 h 2197"/>
                    <a:gd name="T36" fmla="*/ 859 w 2291"/>
                    <a:gd name="T37" fmla="*/ 103 h 2197"/>
                    <a:gd name="T38" fmla="*/ 1614 w 2291"/>
                    <a:gd name="T39" fmla="*/ 824 h 2197"/>
                    <a:gd name="T40" fmla="*/ 1640 w 2291"/>
                    <a:gd name="T41" fmla="*/ 786 h 2197"/>
                    <a:gd name="T42" fmla="*/ 1499 w 2291"/>
                    <a:gd name="T43" fmla="*/ 596 h 2197"/>
                    <a:gd name="T44" fmla="*/ 835 w 2291"/>
                    <a:gd name="T45" fmla="*/ 576 h 2197"/>
                    <a:gd name="T46" fmla="*/ 669 w 2291"/>
                    <a:gd name="T47" fmla="*/ 741 h 2197"/>
                    <a:gd name="T48" fmla="*/ 652 w 2291"/>
                    <a:gd name="T49" fmla="*/ 798 h 2197"/>
                    <a:gd name="T50" fmla="*/ 1450 w 2291"/>
                    <a:gd name="T51" fmla="*/ 1476 h 2197"/>
                    <a:gd name="T52" fmla="*/ 1554 w 2291"/>
                    <a:gd name="T53" fmla="*/ 1913 h 2197"/>
                    <a:gd name="T54" fmla="*/ 2144 w 2291"/>
                    <a:gd name="T55" fmla="*/ 1810 h 2197"/>
                    <a:gd name="T56" fmla="*/ 2041 w 2291"/>
                    <a:gd name="T57" fmla="*/ 1373 h 2197"/>
                    <a:gd name="T58" fmla="*/ 1450 w 2291"/>
                    <a:gd name="T59" fmla="*/ 1476 h 2197"/>
                    <a:gd name="T60" fmla="*/ 2084 w 2291"/>
                    <a:gd name="T61" fmla="*/ 1810 h 2197"/>
                    <a:gd name="T62" fmla="*/ 1554 w 2291"/>
                    <a:gd name="T63" fmla="*/ 1853 h 2197"/>
                    <a:gd name="T64" fmla="*/ 1511 w 2291"/>
                    <a:gd name="T65" fmla="*/ 1476 h 2197"/>
                    <a:gd name="T66" fmla="*/ 2041 w 2291"/>
                    <a:gd name="T67" fmla="*/ 1433 h 2197"/>
                    <a:gd name="T68" fmla="*/ 2275 w 2291"/>
                    <a:gd name="T69" fmla="*/ 2114 h 2197"/>
                    <a:gd name="T70" fmla="*/ 2108 w 2291"/>
                    <a:gd name="T71" fmla="*/ 1949 h 2197"/>
                    <a:gd name="T72" fmla="*/ 1444 w 2291"/>
                    <a:gd name="T73" fmla="*/ 1969 h 2197"/>
                    <a:gd name="T74" fmla="*/ 1304 w 2291"/>
                    <a:gd name="T75" fmla="*/ 2159 h 2197"/>
                    <a:gd name="T76" fmla="*/ 1329 w 2291"/>
                    <a:gd name="T77" fmla="*/ 2197 h 2197"/>
                    <a:gd name="T78" fmla="*/ 2291 w 2291"/>
                    <a:gd name="T79" fmla="*/ 2171 h 2197"/>
                    <a:gd name="T80" fmla="*/ 2275 w 2291"/>
                    <a:gd name="T81" fmla="*/ 2114 h 2197"/>
                    <a:gd name="T82" fmla="*/ 738 w 2291"/>
                    <a:gd name="T83" fmla="*/ 1913 h 2197"/>
                    <a:gd name="T84" fmla="*/ 841 w 2291"/>
                    <a:gd name="T85" fmla="*/ 1476 h 2197"/>
                    <a:gd name="T86" fmla="*/ 250 w 2291"/>
                    <a:gd name="T87" fmla="*/ 1373 h 2197"/>
                    <a:gd name="T88" fmla="*/ 147 w 2291"/>
                    <a:gd name="T89" fmla="*/ 1810 h 2197"/>
                    <a:gd name="T90" fmla="*/ 207 w 2291"/>
                    <a:gd name="T91" fmla="*/ 1476 h 2197"/>
                    <a:gd name="T92" fmla="*/ 738 w 2291"/>
                    <a:gd name="T93" fmla="*/ 1433 h 2197"/>
                    <a:gd name="T94" fmla="*/ 781 w 2291"/>
                    <a:gd name="T95" fmla="*/ 1810 h 2197"/>
                    <a:gd name="T96" fmla="*/ 250 w 2291"/>
                    <a:gd name="T97" fmla="*/ 1853 h 2197"/>
                    <a:gd name="T98" fmla="*/ 207 w 2291"/>
                    <a:gd name="T99" fmla="*/ 1476 h 2197"/>
                    <a:gd name="T100" fmla="*/ 805 w 2291"/>
                    <a:gd name="T101" fmla="*/ 1949 h 2197"/>
                    <a:gd name="T102" fmla="*/ 141 w 2291"/>
                    <a:gd name="T103" fmla="*/ 1969 h 2197"/>
                    <a:gd name="T104" fmla="*/ 0 w 2291"/>
                    <a:gd name="T105" fmla="*/ 2159 h 2197"/>
                    <a:gd name="T106" fmla="*/ 26 w 2291"/>
                    <a:gd name="T107" fmla="*/ 2197 h 2197"/>
                    <a:gd name="T108" fmla="*/ 988 w 2291"/>
                    <a:gd name="T109" fmla="*/ 2171 h 2197"/>
                    <a:gd name="T110" fmla="*/ 971 w 2291"/>
                    <a:gd name="T111" fmla="*/ 2114 h 2197"/>
                    <a:gd name="T112" fmla="*/ 971 w 2291"/>
                    <a:gd name="T113" fmla="*/ 1659 h 2197"/>
                    <a:gd name="T114" fmla="*/ 1088 w 2291"/>
                    <a:gd name="T115" fmla="*/ 1610 h 2197"/>
                    <a:gd name="T116" fmla="*/ 971 w 2291"/>
                    <a:gd name="T117" fmla="*/ 1659 h 2197"/>
                    <a:gd name="T118" fmla="*/ 1204 w 2291"/>
                    <a:gd name="T119" fmla="*/ 1610 h 2197"/>
                    <a:gd name="T120" fmla="*/ 1320 w 2291"/>
                    <a:gd name="T121" fmla="*/ 1659 h 2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91" h="2197">
                      <a:moveTo>
                        <a:pt x="1506" y="1023"/>
                      </a:moveTo>
                      <a:cubicBezTo>
                        <a:pt x="1448" y="923"/>
                        <a:pt x="1448" y="923"/>
                        <a:pt x="1448" y="923"/>
                      </a:cubicBezTo>
                      <a:cubicBezTo>
                        <a:pt x="1406" y="947"/>
                        <a:pt x="1406" y="947"/>
                        <a:pt x="1406" y="947"/>
                      </a:cubicBezTo>
                      <a:cubicBezTo>
                        <a:pt x="1464" y="1048"/>
                        <a:pt x="1464" y="1048"/>
                        <a:pt x="1464" y="1048"/>
                      </a:cubicBezTo>
                      <a:lnTo>
                        <a:pt x="1506" y="1023"/>
                      </a:lnTo>
                      <a:close/>
                      <a:moveTo>
                        <a:pt x="1622" y="1225"/>
                      </a:moveTo>
                      <a:cubicBezTo>
                        <a:pt x="1564" y="1124"/>
                        <a:pt x="1564" y="1124"/>
                        <a:pt x="1564" y="1124"/>
                      </a:cubicBezTo>
                      <a:cubicBezTo>
                        <a:pt x="1522" y="1149"/>
                        <a:pt x="1522" y="1149"/>
                        <a:pt x="1522" y="1149"/>
                      </a:cubicBezTo>
                      <a:cubicBezTo>
                        <a:pt x="1580" y="1249"/>
                        <a:pt x="1580" y="1249"/>
                        <a:pt x="1580" y="1249"/>
                      </a:cubicBezTo>
                      <a:lnTo>
                        <a:pt x="1622" y="1225"/>
                      </a:lnTo>
                      <a:close/>
                      <a:moveTo>
                        <a:pt x="711" y="1249"/>
                      </a:moveTo>
                      <a:cubicBezTo>
                        <a:pt x="769" y="1149"/>
                        <a:pt x="769" y="1149"/>
                        <a:pt x="769" y="1149"/>
                      </a:cubicBezTo>
                      <a:cubicBezTo>
                        <a:pt x="727" y="1124"/>
                        <a:pt x="727" y="1124"/>
                        <a:pt x="727" y="1124"/>
                      </a:cubicBezTo>
                      <a:cubicBezTo>
                        <a:pt x="669" y="1225"/>
                        <a:pt x="669" y="1225"/>
                        <a:pt x="669" y="1225"/>
                      </a:cubicBezTo>
                      <a:lnTo>
                        <a:pt x="711" y="1249"/>
                      </a:lnTo>
                      <a:close/>
                      <a:moveTo>
                        <a:pt x="828" y="1048"/>
                      </a:moveTo>
                      <a:cubicBezTo>
                        <a:pt x="886" y="947"/>
                        <a:pt x="886" y="947"/>
                        <a:pt x="886" y="947"/>
                      </a:cubicBezTo>
                      <a:cubicBezTo>
                        <a:pt x="844" y="923"/>
                        <a:pt x="844" y="923"/>
                        <a:pt x="844" y="923"/>
                      </a:cubicBezTo>
                      <a:cubicBezTo>
                        <a:pt x="786" y="1023"/>
                        <a:pt x="786" y="1023"/>
                        <a:pt x="786" y="1023"/>
                      </a:cubicBezTo>
                      <a:lnTo>
                        <a:pt x="828" y="1048"/>
                      </a:lnTo>
                      <a:close/>
                      <a:moveTo>
                        <a:pt x="902" y="540"/>
                      </a:moveTo>
                      <a:cubicBezTo>
                        <a:pt x="1390" y="540"/>
                        <a:pt x="1390" y="540"/>
                        <a:pt x="1390" y="540"/>
                      </a:cubicBezTo>
                      <a:cubicBezTo>
                        <a:pt x="1447" y="540"/>
                        <a:pt x="1493" y="494"/>
                        <a:pt x="1493" y="437"/>
                      </a:cubicBezTo>
                      <a:cubicBezTo>
                        <a:pt x="1493" y="103"/>
                        <a:pt x="1493" y="103"/>
                        <a:pt x="1493" y="103"/>
                      </a:cubicBezTo>
                      <a:cubicBezTo>
                        <a:pt x="1493" y="46"/>
                        <a:pt x="1447" y="0"/>
                        <a:pt x="1390" y="0"/>
                      </a:cubicBezTo>
                      <a:cubicBezTo>
                        <a:pt x="902" y="0"/>
                        <a:pt x="902" y="0"/>
                        <a:pt x="902" y="0"/>
                      </a:cubicBezTo>
                      <a:cubicBezTo>
                        <a:pt x="845" y="0"/>
                        <a:pt x="799" y="46"/>
                        <a:pt x="799" y="103"/>
                      </a:cubicBezTo>
                      <a:cubicBezTo>
                        <a:pt x="799" y="437"/>
                        <a:pt x="799" y="437"/>
                        <a:pt x="799" y="437"/>
                      </a:cubicBezTo>
                      <a:cubicBezTo>
                        <a:pt x="799" y="494"/>
                        <a:pt x="845" y="540"/>
                        <a:pt x="902" y="540"/>
                      </a:cubicBezTo>
                      <a:close/>
                      <a:moveTo>
                        <a:pt x="859" y="103"/>
                      </a:moveTo>
                      <a:cubicBezTo>
                        <a:pt x="859" y="79"/>
                        <a:pt x="878" y="60"/>
                        <a:pt x="902" y="60"/>
                      </a:cubicBezTo>
                      <a:cubicBezTo>
                        <a:pt x="1390" y="60"/>
                        <a:pt x="1390" y="60"/>
                        <a:pt x="1390" y="60"/>
                      </a:cubicBezTo>
                      <a:cubicBezTo>
                        <a:pt x="1413" y="60"/>
                        <a:pt x="1433" y="79"/>
                        <a:pt x="1433" y="103"/>
                      </a:cubicBezTo>
                      <a:cubicBezTo>
                        <a:pt x="1433" y="437"/>
                        <a:pt x="1433" y="437"/>
                        <a:pt x="1433" y="437"/>
                      </a:cubicBezTo>
                      <a:cubicBezTo>
                        <a:pt x="1433" y="461"/>
                        <a:pt x="1413" y="480"/>
                        <a:pt x="1390" y="480"/>
                      </a:cubicBezTo>
                      <a:cubicBezTo>
                        <a:pt x="902" y="480"/>
                        <a:pt x="902" y="480"/>
                        <a:pt x="902" y="480"/>
                      </a:cubicBezTo>
                      <a:cubicBezTo>
                        <a:pt x="878" y="480"/>
                        <a:pt x="859" y="461"/>
                        <a:pt x="859" y="437"/>
                      </a:cubicBezTo>
                      <a:lnTo>
                        <a:pt x="859" y="103"/>
                      </a:lnTo>
                      <a:close/>
                      <a:moveTo>
                        <a:pt x="678" y="824"/>
                      </a:moveTo>
                      <a:cubicBezTo>
                        <a:pt x="1614" y="824"/>
                        <a:pt x="1614" y="824"/>
                        <a:pt x="1614" y="824"/>
                      </a:cubicBezTo>
                      <a:cubicBezTo>
                        <a:pt x="1628" y="824"/>
                        <a:pt x="1640" y="812"/>
                        <a:pt x="1640" y="798"/>
                      </a:cubicBezTo>
                      <a:cubicBezTo>
                        <a:pt x="1640" y="786"/>
                        <a:pt x="1640" y="786"/>
                        <a:pt x="1640" y="786"/>
                      </a:cubicBezTo>
                      <a:cubicBezTo>
                        <a:pt x="1640" y="772"/>
                        <a:pt x="1632" y="752"/>
                        <a:pt x="1623" y="741"/>
                      </a:cubicBezTo>
                      <a:cubicBezTo>
                        <a:pt x="1499" y="596"/>
                        <a:pt x="1499" y="596"/>
                        <a:pt x="1499" y="596"/>
                      </a:cubicBezTo>
                      <a:cubicBezTo>
                        <a:pt x="1490" y="585"/>
                        <a:pt x="1471" y="576"/>
                        <a:pt x="1457" y="576"/>
                      </a:cubicBezTo>
                      <a:cubicBezTo>
                        <a:pt x="835" y="576"/>
                        <a:pt x="835" y="576"/>
                        <a:pt x="835" y="576"/>
                      </a:cubicBezTo>
                      <a:cubicBezTo>
                        <a:pt x="821" y="576"/>
                        <a:pt x="802" y="585"/>
                        <a:pt x="792" y="596"/>
                      </a:cubicBezTo>
                      <a:cubicBezTo>
                        <a:pt x="669" y="741"/>
                        <a:pt x="669" y="741"/>
                        <a:pt x="669" y="741"/>
                      </a:cubicBezTo>
                      <a:cubicBezTo>
                        <a:pt x="659" y="752"/>
                        <a:pt x="652" y="772"/>
                        <a:pt x="652" y="786"/>
                      </a:cubicBezTo>
                      <a:cubicBezTo>
                        <a:pt x="652" y="798"/>
                        <a:pt x="652" y="798"/>
                        <a:pt x="652" y="798"/>
                      </a:cubicBezTo>
                      <a:cubicBezTo>
                        <a:pt x="652" y="812"/>
                        <a:pt x="664" y="824"/>
                        <a:pt x="678" y="824"/>
                      </a:cubicBezTo>
                      <a:close/>
                      <a:moveTo>
                        <a:pt x="1450" y="1476"/>
                      </a:moveTo>
                      <a:cubicBezTo>
                        <a:pt x="1450" y="1810"/>
                        <a:pt x="1450" y="1810"/>
                        <a:pt x="1450" y="1810"/>
                      </a:cubicBezTo>
                      <a:cubicBezTo>
                        <a:pt x="1450" y="1867"/>
                        <a:pt x="1497" y="1913"/>
                        <a:pt x="1554" y="1913"/>
                      </a:cubicBezTo>
                      <a:cubicBezTo>
                        <a:pt x="2041" y="1913"/>
                        <a:pt x="2041" y="1913"/>
                        <a:pt x="2041" y="1913"/>
                      </a:cubicBezTo>
                      <a:cubicBezTo>
                        <a:pt x="2098" y="1913"/>
                        <a:pt x="2144" y="1867"/>
                        <a:pt x="2144" y="1810"/>
                      </a:cubicBezTo>
                      <a:cubicBezTo>
                        <a:pt x="2144" y="1476"/>
                        <a:pt x="2144" y="1476"/>
                        <a:pt x="2144" y="1476"/>
                      </a:cubicBezTo>
                      <a:cubicBezTo>
                        <a:pt x="2144" y="1419"/>
                        <a:pt x="2098" y="1373"/>
                        <a:pt x="2041" y="1373"/>
                      </a:cubicBezTo>
                      <a:cubicBezTo>
                        <a:pt x="1554" y="1373"/>
                        <a:pt x="1554" y="1373"/>
                        <a:pt x="1554" y="1373"/>
                      </a:cubicBezTo>
                      <a:cubicBezTo>
                        <a:pt x="1497" y="1373"/>
                        <a:pt x="1450" y="1419"/>
                        <a:pt x="1450" y="1476"/>
                      </a:cubicBezTo>
                      <a:close/>
                      <a:moveTo>
                        <a:pt x="2084" y="1476"/>
                      </a:moveTo>
                      <a:cubicBezTo>
                        <a:pt x="2084" y="1810"/>
                        <a:pt x="2084" y="1810"/>
                        <a:pt x="2084" y="1810"/>
                      </a:cubicBezTo>
                      <a:cubicBezTo>
                        <a:pt x="2084" y="1834"/>
                        <a:pt x="2065" y="1853"/>
                        <a:pt x="2041" y="1853"/>
                      </a:cubicBezTo>
                      <a:cubicBezTo>
                        <a:pt x="1554" y="1853"/>
                        <a:pt x="1554" y="1853"/>
                        <a:pt x="1554" y="1853"/>
                      </a:cubicBezTo>
                      <a:cubicBezTo>
                        <a:pt x="1530" y="1853"/>
                        <a:pt x="1511" y="1834"/>
                        <a:pt x="1511" y="1810"/>
                      </a:cubicBezTo>
                      <a:cubicBezTo>
                        <a:pt x="1511" y="1476"/>
                        <a:pt x="1511" y="1476"/>
                        <a:pt x="1511" y="1476"/>
                      </a:cubicBezTo>
                      <a:cubicBezTo>
                        <a:pt x="1511" y="1452"/>
                        <a:pt x="1530" y="1433"/>
                        <a:pt x="1554" y="1433"/>
                      </a:cubicBezTo>
                      <a:cubicBezTo>
                        <a:pt x="2041" y="1433"/>
                        <a:pt x="2041" y="1433"/>
                        <a:pt x="2041" y="1433"/>
                      </a:cubicBezTo>
                      <a:cubicBezTo>
                        <a:pt x="2065" y="1433"/>
                        <a:pt x="2084" y="1452"/>
                        <a:pt x="2084" y="1476"/>
                      </a:cubicBezTo>
                      <a:close/>
                      <a:moveTo>
                        <a:pt x="2275" y="2114"/>
                      </a:moveTo>
                      <a:cubicBezTo>
                        <a:pt x="2151" y="1969"/>
                        <a:pt x="2151" y="1969"/>
                        <a:pt x="2151" y="1969"/>
                      </a:cubicBezTo>
                      <a:cubicBezTo>
                        <a:pt x="2142" y="1958"/>
                        <a:pt x="2123" y="1949"/>
                        <a:pt x="2108" y="1949"/>
                      </a:cubicBezTo>
                      <a:cubicBezTo>
                        <a:pt x="1486" y="1949"/>
                        <a:pt x="1486" y="1949"/>
                        <a:pt x="1486" y="1949"/>
                      </a:cubicBezTo>
                      <a:cubicBezTo>
                        <a:pt x="1472" y="1949"/>
                        <a:pt x="1453" y="1958"/>
                        <a:pt x="1444" y="1969"/>
                      </a:cubicBezTo>
                      <a:cubicBezTo>
                        <a:pt x="1320" y="2114"/>
                        <a:pt x="1320" y="2114"/>
                        <a:pt x="1320" y="2114"/>
                      </a:cubicBezTo>
                      <a:cubicBezTo>
                        <a:pt x="1311" y="2125"/>
                        <a:pt x="1304" y="2145"/>
                        <a:pt x="1304" y="2159"/>
                      </a:cubicBezTo>
                      <a:cubicBezTo>
                        <a:pt x="1304" y="2171"/>
                        <a:pt x="1304" y="2171"/>
                        <a:pt x="1304" y="2171"/>
                      </a:cubicBezTo>
                      <a:cubicBezTo>
                        <a:pt x="1304" y="2185"/>
                        <a:pt x="1315" y="2197"/>
                        <a:pt x="1329" y="2197"/>
                      </a:cubicBezTo>
                      <a:cubicBezTo>
                        <a:pt x="2265" y="2197"/>
                        <a:pt x="2265" y="2197"/>
                        <a:pt x="2265" y="2197"/>
                      </a:cubicBezTo>
                      <a:cubicBezTo>
                        <a:pt x="2280" y="2197"/>
                        <a:pt x="2291" y="2185"/>
                        <a:pt x="2291" y="2171"/>
                      </a:cubicBezTo>
                      <a:cubicBezTo>
                        <a:pt x="2291" y="2159"/>
                        <a:pt x="2291" y="2159"/>
                        <a:pt x="2291" y="2159"/>
                      </a:cubicBezTo>
                      <a:cubicBezTo>
                        <a:pt x="2291" y="2145"/>
                        <a:pt x="2284" y="2125"/>
                        <a:pt x="2275" y="2114"/>
                      </a:cubicBezTo>
                      <a:close/>
                      <a:moveTo>
                        <a:pt x="250" y="1913"/>
                      </a:moveTo>
                      <a:cubicBezTo>
                        <a:pt x="738" y="1913"/>
                        <a:pt x="738" y="1913"/>
                        <a:pt x="738" y="1913"/>
                      </a:cubicBezTo>
                      <a:cubicBezTo>
                        <a:pt x="795" y="1913"/>
                        <a:pt x="841" y="1867"/>
                        <a:pt x="841" y="1810"/>
                      </a:cubicBezTo>
                      <a:cubicBezTo>
                        <a:pt x="841" y="1476"/>
                        <a:pt x="841" y="1476"/>
                        <a:pt x="841" y="1476"/>
                      </a:cubicBezTo>
                      <a:cubicBezTo>
                        <a:pt x="841" y="1419"/>
                        <a:pt x="795" y="1373"/>
                        <a:pt x="738" y="1373"/>
                      </a:cubicBezTo>
                      <a:cubicBezTo>
                        <a:pt x="250" y="1373"/>
                        <a:pt x="250" y="1373"/>
                        <a:pt x="250" y="1373"/>
                      </a:cubicBezTo>
                      <a:cubicBezTo>
                        <a:pt x="193" y="1373"/>
                        <a:pt x="147" y="1419"/>
                        <a:pt x="147" y="1476"/>
                      </a:cubicBezTo>
                      <a:cubicBezTo>
                        <a:pt x="147" y="1810"/>
                        <a:pt x="147" y="1810"/>
                        <a:pt x="147" y="1810"/>
                      </a:cubicBezTo>
                      <a:cubicBezTo>
                        <a:pt x="147" y="1867"/>
                        <a:pt x="193" y="1913"/>
                        <a:pt x="250" y="1913"/>
                      </a:cubicBezTo>
                      <a:close/>
                      <a:moveTo>
                        <a:pt x="207" y="1476"/>
                      </a:moveTo>
                      <a:cubicBezTo>
                        <a:pt x="207" y="1452"/>
                        <a:pt x="227" y="1433"/>
                        <a:pt x="250" y="1433"/>
                      </a:cubicBezTo>
                      <a:cubicBezTo>
                        <a:pt x="738" y="1433"/>
                        <a:pt x="738" y="1433"/>
                        <a:pt x="738" y="1433"/>
                      </a:cubicBezTo>
                      <a:cubicBezTo>
                        <a:pt x="762" y="1433"/>
                        <a:pt x="781" y="1452"/>
                        <a:pt x="781" y="1476"/>
                      </a:cubicBezTo>
                      <a:cubicBezTo>
                        <a:pt x="781" y="1810"/>
                        <a:pt x="781" y="1810"/>
                        <a:pt x="781" y="1810"/>
                      </a:cubicBezTo>
                      <a:cubicBezTo>
                        <a:pt x="781" y="1834"/>
                        <a:pt x="762" y="1853"/>
                        <a:pt x="738" y="1853"/>
                      </a:cubicBezTo>
                      <a:cubicBezTo>
                        <a:pt x="250" y="1853"/>
                        <a:pt x="250" y="1853"/>
                        <a:pt x="250" y="1853"/>
                      </a:cubicBezTo>
                      <a:cubicBezTo>
                        <a:pt x="227" y="1853"/>
                        <a:pt x="207" y="1834"/>
                        <a:pt x="207" y="1810"/>
                      </a:cubicBezTo>
                      <a:lnTo>
                        <a:pt x="207" y="1476"/>
                      </a:lnTo>
                      <a:close/>
                      <a:moveTo>
                        <a:pt x="848" y="1969"/>
                      </a:moveTo>
                      <a:cubicBezTo>
                        <a:pt x="838" y="1958"/>
                        <a:pt x="819" y="1949"/>
                        <a:pt x="805" y="1949"/>
                      </a:cubicBezTo>
                      <a:cubicBezTo>
                        <a:pt x="183" y="1949"/>
                        <a:pt x="183" y="1949"/>
                        <a:pt x="183" y="1949"/>
                      </a:cubicBezTo>
                      <a:cubicBezTo>
                        <a:pt x="169" y="1949"/>
                        <a:pt x="150" y="1958"/>
                        <a:pt x="141" y="1969"/>
                      </a:cubicBezTo>
                      <a:cubicBezTo>
                        <a:pt x="17" y="2114"/>
                        <a:pt x="17" y="2114"/>
                        <a:pt x="17" y="2114"/>
                      </a:cubicBezTo>
                      <a:cubicBezTo>
                        <a:pt x="8" y="2125"/>
                        <a:pt x="0" y="2145"/>
                        <a:pt x="0" y="2159"/>
                      </a:cubicBezTo>
                      <a:cubicBezTo>
                        <a:pt x="0" y="2171"/>
                        <a:pt x="0" y="2171"/>
                        <a:pt x="0" y="2171"/>
                      </a:cubicBezTo>
                      <a:cubicBezTo>
                        <a:pt x="0" y="2185"/>
                        <a:pt x="12" y="2197"/>
                        <a:pt x="26" y="2197"/>
                      </a:cubicBezTo>
                      <a:cubicBezTo>
                        <a:pt x="962" y="2197"/>
                        <a:pt x="962" y="2197"/>
                        <a:pt x="962" y="2197"/>
                      </a:cubicBezTo>
                      <a:cubicBezTo>
                        <a:pt x="977" y="2197"/>
                        <a:pt x="988" y="2185"/>
                        <a:pt x="988" y="2171"/>
                      </a:cubicBezTo>
                      <a:cubicBezTo>
                        <a:pt x="988" y="2159"/>
                        <a:pt x="988" y="2159"/>
                        <a:pt x="988" y="2159"/>
                      </a:cubicBezTo>
                      <a:cubicBezTo>
                        <a:pt x="988" y="2145"/>
                        <a:pt x="981" y="2125"/>
                        <a:pt x="971" y="2114"/>
                      </a:cubicBezTo>
                      <a:lnTo>
                        <a:pt x="848" y="1969"/>
                      </a:lnTo>
                      <a:close/>
                      <a:moveTo>
                        <a:pt x="971" y="1659"/>
                      </a:moveTo>
                      <a:cubicBezTo>
                        <a:pt x="1088" y="1659"/>
                        <a:pt x="1088" y="1659"/>
                        <a:pt x="1088" y="1659"/>
                      </a:cubicBezTo>
                      <a:cubicBezTo>
                        <a:pt x="1088" y="1610"/>
                        <a:pt x="1088" y="1610"/>
                        <a:pt x="1088" y="1610"/>
                      </a:cubicBezTo>
                      <a:cubicBezTo>
                        <a:pt x="971" y="1610"/>
                        <a:pt x="971" y="1610"/>
                        <a:pt x="971" y="1610"/>
                      </a:cubicBezTo>
                      <a:lnTo>
                        <a:pt x="971" y="1659"/>
                      </a:lnTo>
                      <a:close/>
                      <a:moveTo>
                        <a:pt x="1320" y="1610"/>
                      </a:moveTo>
                      <a:cubicBezTo>
                        <a:pt x="1204" y="1610"/>
                        <a:pt x="1204" y="1610"/>
                        <a:pt x="1204" y="1610"/>
                      </a:cubicBezTo>
                      <a:cubicBezTo>
                        <a:pt x="1204" y="1659"/>
                        <a:pt x="1204" y="1659"/>
                        <a:pt x="1204" y="1659"/>
                      </a:cubicBezTo>
                      <a:cubicBezTo>
                        <a:pt x="1320" y="1659"/>
                        <a:pt x="1320" y="1659"/>
                        <a:pt x="1320" y="1659"/>
                      </a:cubicBezTo>
                      <a:lnTo>
                        <a:pt x="1320" y="1610"/>
                      </a:lnTo>
                      <a:close/>
                    </a:path>
                  </a:pathLst>
                </a:custGeom>
                <a:solidFill>
                  <a:schemeClr val="bg1"/>
                </a:solidFill>
                <a:ln>
                  <a:noFill/>
                </a:ln>
              </p:spPr>
              <p:txBody>
                <a:bodyPr vert="horz" wrap="square" lIns="82277" tIns="41139" rIns="82277" bIns="41139" numCol="1" anchor="t" anchorCtr="0" compatLnSpc="1">
                  <a:prstTxWarp prst="textNoShape">
                    <a:avLst/>
                  </a:prstTxWarp>
                </a:bodyPr>
                <a:lstStyle/>
                <a:p>
                  <a:pPr defTabSz="684563"/>
                  <a:endParaRPr lang="en-US" sz="1000" dirty="0">
                    <a:solidFill>
                      <a:srgbClr val="FFFFFF"/>
                    </a:solidFill>
                  </a:endParaRPr>
                </a:p>
              </p:txBody>
            </p:sp>
            <p:pic>
              <p:nvPicPr>
                <p:cNvPr id="144" name="Picture 2"/>
                <p:cNvPicPr>
                  <a:picLocks noChangeAspect="1" noChangeArrowheads="1"/>
                </p:cNvPicPr>
                <p:nvPr/>
              </p:nvPicPr>
              <p:blipFill>
                <a:blip r:embed="rId5" cstate="email">
                  <a:extLst>
                    <a:ext uri="{28A0092B-C50C-407E-A947-70E740481C1C}">
                      <a14:useLocalDpi xmlns:a14="http://schemas.microsoft.com/office/drawing/2010/main"/>
                    </a:ext>
                  </a:extLst>
                </a:blip>
                <a:stretch>
                  <a:fillRect/>
                </a:stretch>
              </p:blipFill>
              <p:spPr bwMode="auto">
                <a:xfrm>
                  <a:off x="-1477278" y="5496809"/>
                  <a:ext cx="339326" cy="339324"/>
                </a:xfrm>
                <a:prstGeom prst="rect">
                  <a:avLst/>
                </a:prstGeom>
                <a:noFill/>
                <a:extLst>
                  <a:ext uri="{909E8E84-426E-40DD-AFC4-6F175D3DCCD1}">
                    <a14:hiddenFill xmlns:a14="http://schemas.microsoft.com/office/drawing/2010/main">
                      <a:solidFill>
                        <a:srgbClr val="FFFFFF"/>
                      </a:solidFill>
                    </a14:hiddenFill>
                  </a:ext>
                </a:extLst>
              </p:spPr>
            </p:pic>
            <p:sp>
              <p:nvSpPr>
                <p:cNvPr id="145" name="Freeform 131"/>
                <p:cNvSpPr>
                  <a:spLocks noEditPoints="1"/>
                </p:cNvSpPr>
                <p:nvPr/>
              </p:nvSpPr>
              <p:spPr bwMode="black">
                <a:xfrm>
                  <a:off x="-571740" y="5518633"/>
                  <a:ext cx="338772" cy="295676"/>
                </a:xfrm>
                <a:custGeom>
                  <a:avLst/>
                  <a:gdLst>
                    <a:gd name="T0" fmla="*/ 63 w 78"/>
                    <a:gd name="T1" fmla="*/ 46 h 46"/>
                    <a:gd name="T2" fmla="*/ 15 w 78"/>
                    <a:gd name="T3" fmla="*/ 46 h 46"/>
                    <a:gd name="T4" fmla="*/ 15 w 78"/>
                    <a:gd name="T5" fmla="*/ 37 h 46"/>
                    <a:gd name="T6" fmla="*/ 63 w 78"/>
                    <a:gd name="T7" fmla="*/ 37 h 46"/>
                    <a:gd name="T8" fmla="*/ 63 w 78"/>
                    <a:gd name="T9" fmla="*/ 46 h 46"/>
                    <a:gd name="T10" fmla="*/ 70 w 78"/>
                    <a:gd name="T11" fmla="*/ 0 h 46"/>
                    <a:gd name="T12" fmla="*/ 15 w 78"/>
                    <a:gd name="T13" fmla="*/ 0 h 46"/>
                    <a:gd name="T14" fmla="*/ 15 w 78"/>
                    <a:gd name="T15" fmla="*/ 9 h 46"/>
                    <a:gd name="T16" fmla="*/ 70 w 78"/>
                    <a:gd name="T17" fmla="*/ 9 h 46"/>
                    <a:gd name="T18" fmla="*/ 70 w 78"/>
                    <a:gd name="T19" fmla="*/ 0 h 46"/>
                    <a:gd name="T20" fmla="*/ 78 w 78"/>
                    <a:gd name="T21" fmla="*/ 18 h 46"/>
                    <a:gd name="T22" fmla="*/ 15 w 78"/>
                    <a:gd name="T23" fmla="*/ 18 h 46"/>
                    <a:gd name="T24" fmla="*/ 15 w 78"/>
                    <a:gd name="T25" fmla="*/ 28 h 46"/>
                    <a:gd name="T26" fmla="*/ 78 w 78"/>
                    <a:gd name="T27" fmla="*/ 28 h 46"/>
                    <a:gd name="T28" fmla="*/ 78 w 78"/>
                    <a:gd name="T29" fmla="*/ 18 h 46"/>
                    <a:gd name="T30" fmla="*/ 4 w 78"/>
                    <a:gd name="T31" fmla="*/ 9 h 46"/>
                    <a:gd name="T32" fmla="*/ 9 w 78"/>
                    <a:gd name="T33" fmla="*/ 4 h 46"/>
                    <a:gd name="T34" fmla="*/ 4 w 78"/>
                    <a:gd name="T35" fmla="*/ 0 h 46"/>
                    <a:gd name="T36" fmla="*/ 0 w 78"/>
                    <a:gd name="T37" fmla="*/ 4 h 46"/>
                    <a:gd name="T38" fmla="*/ 4 w 78"/>
                    <a:gd name="T39" fmla="*/ 9 h 46"/>
                    <a:gd name="T40" fmla="*/ 4 w 78"/>
                    <a:gd name="T41" fmla="*/ 18 h 46"/>
                    <a:gd name="T42" fmla="*/ 0 w 78"/>
                    <a:gd name="T43" fmla="*/ 23 h 46"/>
                    <a:gd name="T44" fmla="*/ 4 w 78"/>
                    <a:gd name="T45" fmla="*/ 28 h 46"/>
                    <a:gd name="T46" fmla="*/ 9 w 78"/>
                    <a:gd name="T47" fmla="*/ 23 h 46"/>
                    <a:gd name="T48" fmla="*/ 4 w 78"/>
                    <a:gd name="T49" fmla="*/ 18 h 46"/>
                    <a:gd name="T50" fmla="*/ 4 w 78"/>
                    <a:gd name="T51" fmla="*/ 37 h 46"/>
                    <a:gd name="T52" fmla="*/ 0 w 78"/>
                    <a:gd name="T53" fmla="*/ 41 h 46"/>
                    <a:gd name="T54" fmla="*/ 4 w 78"/>
                    <a:gd name="T55" fmla="*/ 46 h 46"/>
                    <a:gd name="T56" fmla="*/ 9 w 78"/>
                    <a:gd name="T57" fmla="*/ 41 h 46"/>
                    <a:gd name="T58" fmla="*/ 4 w 78"/>
                    <a:gd name="T59" fmla="*/ 3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 h="46">
                      <a:moveTo>
                        <a:pt x="63" y="46"/>
                      </a:moveTo>
                      <a:cubicBezTo>
                        <a:pt x="15" y="46"/>
                        <a:pt x="15" y="46"/>
                        <a:pt x="15" y="46"/>
                      </a:cubicBezTo>
                      <a:cubicBezTo>
                        <a:pt x="15" y="37"/>
                        <a:pt x="15" y="37"/>
                        <a:pt x="15" y="37"/>
                      </a:cubicBezTo>
                      <a:cubicBezTo>
                        <a:pt x="63" y="37"/>
                        <a:pt x="63" y="37"/>
                        <a:pt x="63" y="37"/>
                      </a:cubicBezTo>
                      <a:lnTo>
                        <a:pt x="63" y="46"/>
                      </a:lnTo>
                      <a:close/>
                      <a:moveTo>
                        <a:pt x="70" y="0"/>
                      </a:moveTo>
                      <a:cubicBezTo>
                        <a:pt x="15" y="0"/>
                        <a:pt x="15" y="0"/>
                        <a:pt x="15" y="0"/>
                      </a:cubicBezTo>
                      <a:cubicBezTo>
                        <a:pt x="15" y="9"/>
                        <a:pt x="15" y="9"/>
                        <a:pt x="15" y="9"/>
                      </a:cubicBezTo>
                      <a:cubicBezTo>
                        <a:pt x="70" y="9"/>
                        <a:pt x="70" y="9"/>
                        <a:pt x="70" y="9"/>
                      </a:cubicBezTo>
                      <a:lnTo>
                        <a:pt x="70" y="0"/>
                      </a:lnTo>
                      <a:close/>
                      <a:moveTo>
                        <a:pt x="78" y="18"/>
                      </a:moveTo>
                      <a:cubicBezTo>
                        <a:pt x="15" y="18"/>
                        <a:pt x="15" y="18"/>
                        <a:pt x="15" y="18"/>
                      </a:cubicBezTo>
                      <a:cubicBezTo>
                        <a:pt x="15" y="28"/>
                        <a:pt x="15" y="28"/>
                        <a:pt x="15" y="28"/>
                      </a:cubicBezTo>
                      <a:cubicBezTo>
                        <a:pt x="78" y="28"/>
                        <a:pt x="78" y="28"/>
                        <a:pt x="78" y="28"/>
                      </a:cubicBezTo>
                      <a:lnTo>
                        <a:pt x="78" y="18"/>
                      </a:lnTo>
                      <a:close/>
                      <a:moveTo>
                        <a:pt x="4" y="9"/>
                      </a:moveTo>
                      <a:cubicBezTo>
                        <a:pt x="7" y="9"/>
                        <a:pt x="9" y="7"/>
                        <a:pt x="9" y="4"/>
                      </a:cubicBezTo>
                      <a:cubicBezTo>
                        <a:pt x="9" y="2"/>
                        <a:pt x="7" y="0"/>
                        <a:pt x="4" y="0"/>
                      </a:cubicBezTo>
                      <a:cubicBezTo>
                        <a:pt x="2" y="0"/>
                        <a:pt x="0" y="2"/>
                        <a:pt x="0" y="4"/>
                      </a:cubicBezTo>
                      <a:cubicBezTo>
                        <a:pt x="0" y="7"/>
                        <a:pt x="2" y="9"/>
                        <a:pt x="4" y="9"/>
                      </a:cubicBezTo>
                      <a:moveTo>
                        <a:pt x="4" y="18"/>
                      </a:moveTo>
                      <a:cubicBezTo>
                        <a:pt x="2" y="18"/>
                        <a:pt x="0" y="20"/>
                        <a:pt x="0" y="23"/>
                      </a:cubicBezTo>
                      <a:cubicBezTo>
                        <a:pt x="0" y="26"/>
                        <a:pt x="2" y="28"/>
                        <a:pt x="4" y="28"/>
                      </a:cubicBezTo>
                      <a:cubicBezTo>
                        <a:pt x="7" y="28"/>
                        <a:pt x="9" y="26"/>
                        <a:pt x="9" y="23"/>
                      </a:cubicBezTo>
                      <a:cubicBezTo>
                        <a:pt x="9" y="20"/>
                        <a:pt x="7" y="18"/>
                        <a:pt x="4" y="18"/>
                      </a:cubicBezTo>
                      <a:moveTo>
                        <a:pt x="4" y="37"/>
                      </a:moveTo>
                      <a:cubicBezTo>
                        <a:pt x="2" y="37"/>
                        <a:pt x="0" y="39"/>
                        <a:pt x="0" y="41"/>
                      </a:cubicBezTo>
                      <a:cubicBezTo>
                        <a:pt x="0" y="44"/>
                        <a:pt x="2" y="46"/>
                        <a:pt x="4" y="46"/>
                      </a:cubicBezTo>
                      <a:cubicBezTo>
                        <a:pt x="7" y="46"/>
                        <a:pt x="9" y="44"/>
                        <a:pt x="9" y="41"/>
                      </a:cubicBezTo>
                      <a:cubicBezTo>
                        <a:pt x="9" y="39"/>
                        <a:pt x="7" y="37"/>
                        <a:pt x="4" y="37"/>
                      </a:cubicBezTo>
                    </a:path>
                  </a:pathLst>
                </a:custGeom>
                <a:solidFill>
                  <a:schemeClr val="bg1"/>
                </a:solidFill>
                <a:ln>
                  <a:noFill/>
                </a:ln>
                <a:extLst/>
              </p:spPr>
              <p:txBody>
                <a:bodyPr vert="horz" wrap="square" lIns="89625" tIns="44812" rIns="89625" bIns="44812" numCol="1" anchor="t" anchorCtr="0" compatLnSpc="1">
                  <a:prstTxWarp prst="textNoShape">
                    <a:avLst/>
                  </a:prstTxWarp>
                </a:bodyPr>
                <a:lstStyle/>
                <a:p>
                  <a:endParaRPr lang="en-US" sz="1765" dirty="0">
                    <a:solidFill>
                      <a:srgbClr val="000000"/>
                    </a:solidFill>
                  </a:endParaRPr>
                </a:p>
              </p:txBody>
            </p:sp>
          </p:grpSp>
        </p:grpSp>
        <p:grpSp>
          <p:nvGrpSpPr>
            <p:cNvPr id="81" name="Group 80"/>
            <p:cNvGrpSpPr/>
            <p:nvPr/>
          </p:nvGrpSpPr>
          <p:grpSpPr>
            <a:xfrm>
              <a:off x="9591673" y="2320023"/>
              <a:ext cx="3968425" cy="862398"/>
              <a:chOff x="554883" y="3636065"/>
              <a:chExt cx="3702792" cy="804672"/>
            </a:xfrm>
          </p:grpSpPr>
          <p:sp>
            <p:nvSpPr>
              <p:cNvPr id="120" name="Rectangle 119"/>
              <p:cNvSpPr/>
              <p:nvPr/>
            </p:nvSpPr>
            <p:spPr bwMode="auto">
              <a:xfrm>
                <a:off x="554883" y="3636065"/>
                <a:ext cx="3702792" cy="804672"/>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12" tIns="44812" rIns="44812" bIns="44812" numCol="1" rtlCol="0" anchor="b" anchorCtr="0" compatLnSpc="1">
                <a:prstTxWarp prst="textNoShape">
                  <a:avLst/>
                </a:prstTxWarp>
              </a:bodyPr>
              <a:lstStyle/>
              <a:p>
                <a:pPr algn="ctr" defTabSz="913731" fontAlgn="base">
                  <a:spcBef>
                    <a:spcPct val="0"/>
                  </a:spcBef>
                  <a:spcAft>
                    <a:spcPct val="0"/>
                  </a:spcAft>
                </a:pPr>
                <a:endParaRPr lang="en-US" sz="882" dirty="0">
                  <a:solidFill>
                    <a:srgbClr val="FFFFFF"/>
                  </a:solidFill>
                </a:endParaRPr>
              </a:p>
            </p:txBody>
          </p:sp>
          <p:grpSp>
            <p:nvGrpSpPr>
              <p:cNvPr id="121" name="Group 120"/>
              <p:cNvGrpSpPr/>
              <p:nvPr/>
            </p:nvGrpSpPr>
            <p:grpSpPr>
              <a:xfrm>
                <a:off x="614050" y="3695501"/>
                <a:ext cx="3584458" cy="685800"/>
                <a:chOff x="-3552475" y="3744589"/>
                <a:chExt cx="3584458" cy="685800"/>
              </a:xfrm>
            </p:grpSpPr>
            <p:grpSp>
              <p:nvGrpSpPr>
                <p:cNvPr id="122" name="Group 121"/>
                <p:cNvGrpSpPr/>
                <p:nvPr/>
              </p:nvGrpSpPr>
              <p:grpSpPr>
                <a:xfrm>
                  <a:off x="-3552475" y="3744589"/>
                  <a:ext cx="868680" cy="685800"/>
                  <a:chOff x="-3552475" y="3744589"/>
                  <a:chExt cx="868680" cy="685800"/>
                </a:xfrm>
              </p:grpSpPr>
              <p:sp>
                <p:nvSpPr>
                  <p:cNvPr id="132" name="Rectangle 131"/>
                  <p:cNvSpPr/>
                  <p:nvPr/>
                </p:nvSpPr>
                <p:spPr bwMode="auto">
                  <a:xfrm>
                    <a:off x="-3552475" y="3744589"/>
                    <a:ext cx="868680" cy="685800"/>
                  </a:xfrm>
                  <a:prstGeom prst="rect">
                    <a:avLst/>
                  </a:prstGeom>
                  <a:solidFill>
                    <a:schemeClr val="bg1">
                      <a:alpha val="10000"/>
                    </a:schemeClr>
                  </a:solidFill>
                  <a:ln w="3175">
                    <a:solidFill>
                      <a:schemeClr val="bg1">
                        <a:lumMod val="9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a:solidFill>
                          <a:srgbClr val="FFFFFF"/>
                        </a:solidFill>
                      </a:rPr>
                      <a:t>Virtual machines</a:t>
                    </a:r>
                  </a:p>
                </p:txBody>
              </p:sp>
              <p:grpSp>
                <p:nvGrpSpPr>
                  <p:cNvPr id="133" name="Group 132"/>
                  <p:cNvGrpSpPr/>
                  <p:nvPr/>
                </p:nvGrpSpPr>
                <p:grpSpPr>
                  <a:xfrm>
                    <a:off x="-3342395" y="3814822"/>
                    <a:ext cx="448520" cy="380344"/>
                    <a:chOff x="3496977" y="5217915"/>
                    <a:chExt cx="433668" cy="367748"/>
                  </a:xfrm>
                  <a:solidFill>
                    <a:schemeClr val="bg1"/>
                  </a:solidFill>
                </p:grpSpPr>
                <p:sp>
                  <p:nvSpPr>
                    <p:cNvPr id="134" name="Freeform 88"/>
                    <p:cNvSpPr>
                      <a:spLocks noEditPoints="1"/>
                    </p:cNvSpPr>
                    <p:nvPr/>
                  </p:nvSpPr>
                  <p:spPr bwMode="black">
                    <a:xfrm>
                      <a:off x="3496977" y="5217915"/>
                      <a:ext cx="433668" cy="367748"/>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grp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89621" tIns="44810" rIns="89621" bIns="44810" numCol="1" rtlCol="0" anchor="ctr" anchorCtr="0" compatLnSpc="1">
                      <a:prstTxWarp prst="textNoShape">
                        <a:avLst/>
                      </a:prstTxWarp>
                    </a:bodyPr>
                    <a:lstStyle/>
                    <a:p>
                      <a:pPr defTabSz="725994"/>
                      <a:endParaRPr lang="en-US" sz="1765" dirty="0">
                        <a:solidFill>
                          <a:srgbClr val="000000">
                            <a:lumMod val="50000"/>
                          </a:srgbClr>
                        </a:solidFill>
                      </a:endParaRPr>
                    </a:p>
                  </p:txBody>
                </p:sp>
                <p:sp>
                  <p:nvSpPr>
                    <p:cNvPr id="135" name="Freeform 23"/>
                    <p:cNvSpPr>
                      <a:spLocks noEditPoints="1"/>
                    </p:cNvSpPr>
                    <p:nvPr/>
                  </p:nvSpPr>
                  <p:spPr bwMode="black">
                    <a:xfrm>
                      <a:off x="3639526" y="5308136"/>
                      <a:ext cx="148570" cy="148531"/>
                    </a:xfrm>
                    <a:custGeom>
                      <a:avLst/>
                      <a:gdLst>
                        <a:gd name="T0" fmla="*/ 709 w 709"/>
                        <a:gd name="T1" fmla="*/ 570 h 709"/>
                        <a:gd name="T2" fmla="*/ 373 w 709"/>
                        <a:gd name="T3" fmla="*/ 709 h 709"/>
                        <a:gd name="T4" fmla="*/ 373 w 709"/>
                        <a:gd name="T5" fmla="*/ 294 h 709"/>
                        <a:gd name="T6" fmla="*/ 709 w 709"/>
                        <a:gd name="T7" fmla="*/ 154 h 709"/>
                        <a:gd name="T8" fmla="*/ 709 w 709"/>
                        <a:gd name="T9" fmla="*/ 570 h 709"/>
                        <a:gd name="T10" fmla="*/ 335 w 709"/>
                        <a:gd name="T11" fmla="*/ 294 h 709"/>
                        <a:gd name="T12" fmla="*/ 0 w 709"/>
                        <a:gd name="T13" fmla="*/ 154 h 709"/>
                        <a:gd name="T14" fmla="*/ 0 w 709"/>
                        <a:gd name="T15" fmla="*/ 570 h 709"/>
                        <a:gd name="T16" fmla="*/ 335 w 709"/>
                        <a:gd name="T17" fmla="*/ 709 h 709"/>
                        <a:gd name="T18" fmla="*/ 335 w 709"/>
                        <a:gd name="T19" fmla="*/ 294 h 709"/>
                        <a:gd name="T20" fmla="*/ 354 w 709"/>
                        <a:gd name="T21" fmla="*/ 0 h 709"/>
                        <a:gd name="T22" fmla="*/ 0 w 709"/>
                        <a:gd name="T23" fmla="*/ 126 h 709"/>
                        <a:gd name="T24" fmla="*/ 354 w 709"/>
                        <a:gd name="T25" fmla="*/ 268 h 709"/>
                        <a:gd name="T26" fmla="*/ 709 w 709"/>
                        <a:gd name="T27" fmla="*/ 126 h 709"/>
                        <a:gd name="T28" fmla="*/ 354 w 709"/>
                        <a:gd name="T29" fmla="*/ 0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09" h="709">
                          <a:moveTo>
                            <a:pt x="709" y="570"/>
                          </a:moveTo>
                          <a:lnTo>
                            <a:pt x="373" y="709"/>
                          </a:lnTo>
                          <a:lnTo>
                            <a:pt x="373" y="294"/>
                          </a:lnTo>
                          <a:lnTo>
                            <a:pt x="709" y="154"/>
                          </a:lnTo>
                          <a:lnTo>
                            <a:pt x="709" y="570"/>
                          </a:lnTo>
                          <a:close/>
                          <a:moveTo>
                            <a:pt x="335" y="294"/>
                          </a:moveTo>
                          <a:lnTo>
                            <a:pt x="0" y="154"/>
                          </a:lnTo>
                          <a:lnTo>
                            <a:pt x="0" y="570"/>
                          </a:lnTo>
                          <a:lnTo>
                            <a:pt x="335" y="709"/>
                          </a:lnTo>
                          <a:lnTo>
                            <a:pt x="335" y="294"/>
                          </a:lnTo>
                          <a:close/>
                          <a:moveTo>
                            <a:pt x="354" y="0"/>
                          </a:moveTo>
                          <a:lnTo>
                            <a:pt x="0" y="126"/>
                          </a:lnTo>
                          <a:lnTo>
                            <a:pt x="354" y="268"/>
                          </a:lnTo>
                          <a:lnTo>
                            <a:pt x="709" y="126"/>
                          </a:lnTo>
                          <a:lnTo>
                            <a:pt x="354" y="0"/>
                          </a:lnTo>
                          <a:close/>
                        </a:path>
                      </a:pathLst>
                    </a:custGeom>
                    <a:grpFill/>
                    <a:ln>
                      <a:noFill/>
                    </a:ln>
                  </p:spPr>
                  <p:txBody>
                    <a:bodyPr vert="horz" wrap="square" lIns="80671" tIns="40336" rIns="80671" bIns="40336" numCol="1" anchor="t" anchorCtr="0" compatLnSpc="1">
                      <a:prstTxWarp prst="textNoShape">
                        <a:avLst/>
                      </a:prstTxWarp>
                    </a:bodyPr>
                    <a:lstStyle/>
                    <a:p>
                      <a:endParaRPr lang="en-US" sz="1568" dirty="0">
                        <a:solidFill>
                          <a:srgbClr val="000000"/>
                        </a:solidFill>
                      </a:endParaRPr>
                    </a:p>
                  </p:txBody>
                </p:sp>
              </p:grpSp>
            </p:grpSp>
            <p:grpSp>
              <p:nvGrpSpPr>
                <p:cNvPr id="123" name="Group 122"/>
                <p:cNvGrpSpPr/>
                <p:nvPr/>
              </p:nvGrpSpPr>
              <p:grpSpPr>
                <a:xfrm>
                  <a:off x="-2647216" y="3744589"/>
                  <a:ext cx="868680" cy="685800"/>
                  <a:chOff x="-2647216" y="3744589"/>
                  <a:chExt cx="868680" cy="685800"/>
                </a:xfrm>
              </p:grpSpPr>
              <p:sp>
                <p:nvSpPr>
                  <p:cNvPr id="130" name="Rectangle 129"/>
                  <p:cNvSpPr/>
                  <p:nvPr/>
                </p:nvSpPr>
                <p:spPr bwMode="auto">
                  <a:xfrm>
                    <a:off x="-2647216" y="3744589"/>
                    <a:ext cx="868680" cy="685800"/>
                  </a:xfrm>
                  <a:prstGeom prst="rect">
                    <a:avLst/>
                  </a:prstGeom>
                  <a:solidFill>
                    <a:schemeClr val="bg1">
                      <a:alpha val="10000"/>
                    </a:schemeClr>
                  </a:solidFill>
                  <a:ln w="3175">
                    <a:solidFill>
                      <a:schemeClr val="bg1">
                        <a:lumMod val="9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smtClean="0">
                        <a:solidFill>
                          <a:srgbClr val="FFFFFF"/>
                        </a:solidFill>
                      </a:rPr>
                      <a:t>Websites</a:t>
                    </a:r>
                    <a:endParaRPr lang="en-US" sz="783" b="1" dirty="0">
                      <a:solidFill>
                        <a:srgbClr val="FFFFFF"/>
                      </a:solidFill>
                    </a:endParaRPr>
                  </a:p>
                </p:txBody>
              </p:sp>
              <p:sp>
                <p:nvSpPr>
                  <p:cNvPr id="131" name="Oval 13"/>
                  <p:cNvSpPr/>
                  <p:nvPr/>
                </p:nvSpPr>
                <p:spPr>
                  <a:xfrm>
                    <a:off x="-2427138" y="3790732"/>
                    <a:ext cx="428524" cy="428524"/>
                  </a:xfrm>
                  <a:custGeom>
                    <a:avLst/>
                    <a:gdLst/>
                    <a:ahLst/>
                    <a:cxnLst/>
                    <a:rect l="l" t="t" r="r" b="b"/>
                    <a:pathLst>
                      <a:path w="5360063" h="5360063">
                        <a:moveTo>
                          <a:pt x="2786711" y="4616633"/>
                        </a:moveTo>
                        <a:cubicBezTo>
                          <a:pt x="2845629" y="4616633"/>
                          <a:pt x="2893391" y="4664395"/>
                          <a:pt x="2893391" y="4723313"/>
                        </a:cubicBezTo>
                        <a:lnTo>
                          <a:pt x="2893216" y="4724182"/>
                        </a:lnTo>
                        <a:cubicBezTo>
                          <a:pt x="2893390" y="4724470"/>
                          <a:pt x="2893391" y="4724760"/>
                          <a:pt x="2893391" y="4725050"/>
                        </a:cubicBezTo>
                        <a:cubicBezTo>
                          <a:pt x="2893391" y="4783968"/>
                          <a:pt x="2845629" y="4831730"/>
                          <a:pt x="2786711" y="4831730"/>
                        </a:cubicBezTo>
                        <a:cubicBezTo>
                          <a:pt x="2727793" y="4831730"/>
                          <a:pt x="2680031" y="4783968"/>
                          <a:pt x="2680031" y="4725050"/>
                        </a:cubicBezTo>
                        <a:lnTo>
                          <a:pt x="2680206" y="4724182"/>
                        </a:lnTo>
                        <a:cubicBezTo>
                          <a:pt x="2680032" y="4723893"/>
                          <a:pt x="2680031" y="4723603"/>
                          <a:pt x="2680031" y="4723313"/>
                        </a:cubicBezTo>
                        <a:cubicBezTo>
                          <a:pt x="2680031" y="4664395"/>
                          <a:pt x="2727793" y="4616633"/>
                          <a:pt x="2786711" y="4616633"/>
                        </a:cubicBezTo>
                        <a:close/>
                        <a:moveTo>
                          <a:pt x="2370764" y="4172762"/>
                        </a:moveTo>
                        <a:cubicBezTo>
                          <a:pt x="2473381" y="4329652"/>
                          <a:pt x="2563715" y="4465105"/>
                          <a:pt x="2670321" y="4589275"/>
                        </a:cubicBezTo>
                        <a:cubicBezTo>
                          <a:pt x="2630242" y="4620838"/>
                          <a:pt x="2605736" y="4670082"/>
                          <a:pt x="2605736" y="4725050"/>
                        </a:cubicBezTo>
                        <a:cubicBezTo>
                          <a:pt x="2605736" y="4825000"/>
                          <a:pt x="2686761" y="4906025"/>
                          <a:pt x="2786711" y="4906025"/>
                        </a:cubicBezTo>
                        <a:cubicBezTo>
                          <a:pt x="2819605" y="4906025"/>
                          <a:pt x="2850448" y="4897250"/>
                          <a:pt x="2875571" y="4879387"/>
                        </a:cubicBezTo>
                        <a:cubicBezTo>
                          <a:pt x="2979721" y="4999406"/>
                          <a:pt x="3106893" y="5113460"/>
                          <a:pt x="3196681" y="5191382"/>
                        </a:cubicBezTo>
                        <a:cubicBezTo>
                          <a:pt x="3030020" y="5227229"/>
                          <a:pt x="2857147" y="5245561"/>
                          <a:pt x="2680032" y="5245561"/>
                        </a:cubicBezTo>
                        <a:cubicBezTo>
                          <a:pt x="2385646" y="5245561"/>
                          <a:pt x="2102983" y="5194917"/>
                          <a:pt x="1841065" y="5099089"/>
                        </a:cubicBezTo>
                        <a:lnTo>
                          <a:pt x="1850963" y="5094880"/>
                        </a:lnTo>
                        <a:cubicBezTo>
                          <a:pt x="1850963" y="5089948"/>
                          <a:pt x="1839965" y="5073920"/>
                          <a:pt x="1842715" y="5071762"/>
                        </a:cubicBezTo>
                        <a:lnTo>
                          <a:pt x="1850963" y="5075153"/>
                        </a:lnTo>
                        <a:cubicBezTo>
                          <a:pt x="1857480" y="5081728"/>
                          <a:pt x="1863997" y="5088304"/>
                          <a:pt x="1870514" y="5075153"/>
                        </a:cubicBezTo>
                        <a:cubicBezTo>
                          <a:pt x="1877031" y="5068577"/>
                          <a:pt x="1870514" y="5055424"/>
                          <a:pt x="1877031" y="5042273"/>
                        </a:cubicBezTo>
                        <a:cubicBezTo>
                          <a:pt x="1877031" y="5035697"/>
                          <a:pt x="1890065" y="5029121"/>
                          <a:pt x="1890065" y="5022545"/>
                        </a:cubicBezTo>
                        <a:cubicBezTo>
                          <a:pt x="1896582" y="5009393"/>
                          <a:pt x="1896582" y="5009393"/>
                          <a:pt x="1903099" y="5002817"/>
                        </a:cubicBezTo>
                        <a:cubicBezTo>
                          <a:pt x="1909616" y="4996242"/>
                          <a:pt x="1916133" y="4989666"/>
                          <a:pt x="1922650" y="4983089"/>
                        </a:cubicBezTo>
                        <a:cubicBezTo>
                          <a:pt x="1929166" y="4969938"/>
                          <a:pt x="1909616" y="4950211"/>
                          <a:pt x="1896582" y="4937058"/>
                        </a:cubicBezTo>
                        <a:cubicBezTo>
                          <a:pt x="1883548" y="4917332"/>
                          <a:pt x="1883548" y="4904179"/>
                          <a:pt x="1896582" y="4884452"/>
                        </a:cubicBezTo>
                        <a:cubicBezTo>
                          <a:pt x="1909616" y="4871300"/>
                          <a:pt x="1929166" y="4871300"/>
                          <a:pt x="1935684" y="4858148"/>
                        </a:cubicBezTo>
                        <a:cubicBezTo>
                          <a:pt x="1942201" y="4851573"/>
                          <a:pt x="1935684" y="4838421"/>
                          <a:pt x="1935684" y="4825269"/>
                        </a:cubicBezTo>
                        <a:cubicBezTo>
                          <a:pt x="1935684" y="4818693"/>
                          <a:pt x="1942201" y="4812117"/>
                          <a:pt x="1948717" y="4805541"/>
                        </a:cubicBezTo>
                        <a:cubicBezTo>
                          <a:pt x="1948717" y="4798966"/>
                          <a:pt x="1942201" y="4792389"/>
                          <a:pt x="1948717" y="4792389"/>
                        </a:cubicBezTo>
                        <a:cubicBezTo>
                          <a:pt x="1948717" y="4785813"/>
                          <a:pt x="1968268" y="4792389"/>
                          <a:pt x="1968268" y="4785813"/>
                        </a:cubicBezTo>
                        <a:cubicBezTo>
                          <a:pt x="1974786" y="4779237"/>
                          <a:pt x="1955235" y="4772662"/>
                          <a:pt x="1948717" y="4766086"/>
                        </a:cubicBezTo>
                        <a:cubicBezTo>
                          <a:pt x="1935684" y="4759510"/>
                          <a:pt x="1942201" y="4739782"/>
                          <a:pt x="1955235" y="4733206"/>
                        </a:cubicBezTo>
                        <a:cubicBezTo>
                          <a:pt x="1961752" y="4726631"/>
                          <a:pt x="1974786" y="4733206"/>
                          <a:pt x="1981303" y="4726631"/>
                        </a:cubicBezTo>
                        <a:cubicBezTo>
                          <a:pt x="2000854" y="4726631"/>
                          <a:pt x="2026921" y="4700327"/>
                          <a:pt x="2013888" y="4674023"/>
                        </a:cubicBezTo>
                        <a:cubicBezTo>
                          <a:pt x="2013855" y="4673990"/>
                          <a:pt x="2007414" y="4667492"/>
                          <a:pt x="2007370" y="4667447"/>
                        </a:cubicBezTo>
                        <a:lnTo>
                          <a:pt x="2003094" y="4657070"/>
                        </a:lnTo>
                        <a:cubicBezTo>
                          <a:pt x="2003705" y="4650596"/>
                          <a:pt x="2017146" y="4654295"/>
                          <a:pt x="2026921" y="4654295"/>
                        </a:cubicBezTo>
                        <a:cubicBezTo>
                          <a:pt x="2039956" y="4647720"/>
                          <a:pt x="2059507" y="4634567"/>
                          <a:pt x="2072541" y="4634567"/>
                        </a:cubicBezTo>
                        <a:cubicBezTo>
                          <a:pt x="2092092" y="4634567"/>
                          <a:pt x="2105125" y="4634567"/>
                          <a:pt x="2118159" y="4627991"/>
                        </a:cubicBezTo>
                        <a:cubicBezTo>
                          <a:pt x="2131194" y="4621416"/>
                          <a:pt x="2137710" y="4608264"/>
                          <a:pt x="2144227" y="4595112"/>
                        </a:cubicBezTo>
                        <a:cubicBezTo>
                          <a:pt x="2150745" y="4588536"/>
                          <a:pt x="2157261" y="4581960"/>
                          <a:pt x="2150745" y="4568809"/>
                        </a:cubicBezTo>
                        <a:cubicBezTo>
                          <a:pt x="2150745" y="4562233"/>
                          <a:pt x="2137710" y="4555656"/>
                          <a:pt x="2131194" y="4549081"/>
                        </a:cubicBezTo>
                        <a:cubicBezTo>
                          <a:pt x="2131194" y="4535929"/>
                          <a:pt x="2137710" y="4529353"/>
                          <a:pt x="2137710" y="4522778"/>
                        </a:cubicBezTo>
                        <a:cubicBezTo>
                          <a:pt x="2131194" y="4509625"/>
                          <a:pt x="2111643" y="4509625"/>
                          <a:pt x="2105125" y="4496474"/>
                        </a:cubicBezTo>
                        <a:cubicBezTo>
                          <a:pt x="2098608" y="4483322"/>
                          <a:pt x="2092092" y="4470170"/>
                          <a:pt x="2092092" y="4457018"/>
                        </a:cubicBezTo>
                        <a:cubicBezTo>
                          <a:pt x="2092092" y="4437290"/>
                          <a:pt x="2105125" y="4437290"/>
                          <a:pt x="2118159" y="4450443"/>
                        </a:cubicBezTo>
                        <a:cubicBezTo>
                          <a:pt x="2124676" y="4463594"/>
                          <a:pt x="2124676" y="4483322"/>
                          <a:pt x="2137710" y="4489898"/>
                        </a:cubicBezTo>
                        <a:cubicBezTo>
                          <a:pt x="2144227" y="4503049"/>
                          <a:pt x="2157261" y="4509625"/>
                          <a:pt x="2170296" y="4503049"/>
                        </a:cubicBezTo>
                        <a:cubicBezTo>
                          <a:pt x="2176812" y="4503049"/>
                          <a:pt x="2183330" y="4496474"/>
                          <a:pt x="2189847" y="4503049"/>
                        </a:cubicBezTo>
                        <a:cubicBezTo>
                          <a:pt x="2196363" y="4503049"/>
                          <a:pt x="2202881" y="4503049"/>
                          <a:pt x="2209398" y="4503049"/>
                        </a:cubicBezTo>
                        <a:cubicBezTo>
                          <a:pt x="2215914" y="4503049"/>
                          <a:pt x="2235465" y="4476745"/>
                          <a:pt x="2248500" y="4457018"/>
                        </a:cubicBezTo>
                        <a:cubicBezTo>
                          <a:pt x="2255016" y="4443867"/>
                          <a:pt x="2261534" y="4437290"/>
                          <a:pt x="2261534" y="4430714"/>
                        </a:cubicBezTo>
                        <a:cubicBezTo>
                          <a:pt x="2261534" y="4417563"/>
                          <a:pt x="2255016" y="4417563"/>
                          <a:pt x="2255016" y="4410987"/>
                        </a:cubicBezTo>
                        <a:cubicBezTo>
                          <a:pt x="2261534" y="4404411"/>
                          <a:pt x="2274567" y="4391259"/>
                          <a:pt x="2274567" y="4384683"/>
                        </a:cubicBezTo>
                        <a:cubicBezTo>
                          <a:pt x="2281085" y="4378107"/>
                          <a:pt x="2287601" y="4364956"/>
                          <a:pt x="2300636" y="4358379"/>
                        </a:cubicBezTo>
                        <a:cubicBezTo>
                          <a:pt x="2300667" y="4358379"/>
                          <a:pt x="2307169" y="4358379"/>
                          <a:pt x="2313669" y="4358379"/>
                        </a:cubicBezTo>
                        <a:cubicBezTo>
                          <a:pt x="2326703" y="4351805"/>
                          <a:pt x="2326703" y="4338653"/>
                          <a:pt x="2326703" y="4332077"/>
                        </a:cubicBezTo>
                        <a:cubicBezTo>
                          <a:pt x="2333220" y="4318925"/>
                          <a:pt x="2339738" y="4312349"/>
                          <a:pt x="2352771" y="4299198"/>
                        </a:cubicBezTo>
                        <a:cubicBezTo>
                          <a:pt x="2385356" y="4266318"/>
                          <a:pt x="2352771" y="4233438"/>
                          <a:pt x="2359289" y="4193983"/>
                        </a:cubicBezTo>
                        <a:cubicBezTo>
                          <a:pt x="2359289" y="4185809"/>
                          <a:pt x="2363764" y="4178764"/>
                          <a:pt x="2370764" y="4172762"/>
                        </a:cubicBezTo>
                        <a:close/>
                        <a:moveTo>
                          <a:pt x="1355050" y="3792279"/>
                        </a:moveTo>
                        <a:cubicBezTo>
                          <a:pt x="1318697" y="4184868"/>
                          <a:pt x="1335670" y="4583698"/>
                          <a:pt x="1401311" y="4894132"/>
                        </a:cubicBezTo>
                        <a:cubicBezTo>
                          <a:pt x="1035189" y="4679816"/>
                          <a:pt x="728470" y="4374217"/>
                          <a:pt x="510450" y="4008440"/>
                        </a:cubicBezTo>
                        <a:cubicBezTo>
                          <a:pt x="587420" y="3990259"/>
                          <a:pt x="643285" y="3920314"/>
                          <a:pt x="643285" y="3837320"/>
                        </a:cubicBezTo>
                        <a:lnTo>
                          <a:pt x="642841" y="3832916"/>
                        </a:lnTo>
                        <a:cubicBezTo>
                          <a:pt x="917344" y="3821669"/>
                          <a:pt x="1147515" y="3811703"/>
                          <a:pt x="1355050" y="3792279"/>
                        </a:cubicBezTo>
                        <a:close/>
                        <a:moveTo>
                          <a:pt x="1652544" y="3757744"/>
                        </a:moveTo>
                        <a:cubicBezTo>
                          <a:pt x="1655053" y="3760042"/>
                          <a:pt x="1655453" y="3763094"/>
                          <a:pt x="1655453" y="3766550"/>
                        </a:cubicBezTo>
                        <a:cubicBezTo>
                          <a:pt x="1655453" y="3773126"/>
                          <a:pt x="1655453" y="3779702"/>
                          <a:pt x="1655453" y="3792854"/>
                        </a:cubicBezTo>
                        <a:cubicBezTo>
                          <a:pt x="1655453" y="3806005"/>
                          <a:pt x="1661970" y="3838885"/>
                          <a:pt x="1675004" y="3845461"/>
                        </a:cubicBezTo>
                        <a:cubicBezTo>
                          <a:pt x="1681521" y="3852036"/>
                          <a:pt x="1694555" y="3858612"/>
                          <a:pt x="1707589" y="3858612"/>
                        </a:cubicBezTo>
                        <a:cubicBezTo>
                          <a:pt x="1720624" y="3865188"/>
                          <a:pt x="1740175" y="3871764"/>
                          <a:pt x="1753208" y="3884915"/>
                        </a:cubicBezTo>
                        <a:cubicBezTo>
                          <a:pt x="1766242" y="3898068"/>
                          <a:pt x="1779276" y="3904643"/>
                          <a:pt x="1792310" y="3917795"/>
                        </a:cubicBezTo>
                        <a:cubicBezTo>
                          <a:pt x="1798827" y="3924370"/>
                          <a:pt x="1798827" y="3937523"/>
                          <a:pt x="1805344" y="3950674"/>
                        </a:cubicBezTo>
                        <a:cubicBezTo>
                          <a:pt x="1811861" y="3963826"/>
                          <a:pt x="1811861" y="3983554"/>
                          <a:pt x="1811861" y="4003281"/>
                        </a:cubicBezTo>
                        <a:cubicBezTo>
                          <a:pt x="1811861" y="4009857"/>
                          <a:pt x="1805344" y="4016434"/>
                          <a:pt x="1805344" y="4029585"/>
                        </a:cubicBezTo>
                        <a:cubicBezTo>
                          <a:pt x="1805344" y="4036161"/>
                          <a:pt x="1811861" y="4042737"/>
                          <a:pt x="1805344" y="4049312"/>
                        </a:cubicBezTo>
                        <a:cubicBezTo>
                          <a:pt x="1805344" y="4055889"/>
                          <a:pt x="1805344" y="4069041"/>
                          <a:pt x="1805344" y="4075616"/>
                        </a:cubicBezTo>
                        <a:cubicBezTo>
                          <a:pt x="1805344" y="4095345"/>
                          <a:pt x="1792310" y="4108496"/>
                          <a:pt x="1792310" y="4128223"/>
                        </a:cubicBezTo>
                        <a:cubicBezTo>
                          <a:pt x="1792310" y="4147952"/>
                          <a:pt x="1798827" y="4161103"/>
                          <a:pt x="1798827" y="4174255"/>
                        </a:cubicBezTo>
                        <a:cubicBezTo>
                          <a:pt x="1792310" y="4187407"/>
                          <a:pt x="1785793" y="4193983"/>
                          <a:pt x="1792310" y="4213711"/>
                        </a:cubicBezTo>
                        <a:cubicBezTo>
                          <a:pt x="1792310" y="4220287"/>
                          <a:pt x="1792310" y="4226863"/>
                          <a:pt x="1792310" y="4240014"/>
                        </a:cubicBezTo>
                        <a:cubicBezTo>
                          <a:pt x="1792310" y="4246590"/>
                          <a:pt x="1785793" y="4253166"/>
                          <a:pt x="1785793" y="4266318"/>
                        </a:cubicBezTo>
                        <a:cubicBezTo>
                          <a:pt x="1785793" y="4272894"/>
                          <a:pt x="1779276" y="4286045"/>
                          <a:pt x="1779276" y="4292622"/>
                        </a:cubicBezTo>
                        <a:cubicBezTo>
                          <a:pt x="1779276" y="4299198"/>
                          <a:pt x="1772759" y="4312349"/>
                          <a:pt x="1772759" y="4318925"/>
                        </a:cubicBezTo>
                        <a:cubicBezTo>
                          <a:pt x="1779276" y="4325502"/>
                          <a:pt x="1779276" y="4332077"/>
                          <a:pt x="1779276" y="4345229"/>
                        </a:cubicBezTo>
                        <a:cubicBezTo>
                          <a:pt x="1779276" y="4351805"/>
                          <a:pt x="1772759" y="4358379"/>
                          <a:pt x="1772759" y="4371532"/>
                        </a:cubicBezTo>
                        <a:cubicBezTo>
                          <a:pt x="1772759" y="4384683"/>
                          <a:pt x="1779276" y="4391259"/>
                          <a:pt x="1785793" y="4397835"/>
                        </a:cubicBezTo>
                        <a:cubicBezTo>
                          <a:pt x="1798827" y="4424139"/>
                          <a:pt x="1766242" y="4450443"/>
                          <a:pt x="1759726" y="4476745"/>
                        </a:cubicBezTo>
                        <a:cubicBezTo>
                          <a:pt x="1753208" y="4496474"/>
                          <a:pt x="1746691" y="4516201"/>
                          <a:pt x="1746691" y="4535929"/>
                        </a:cubicBezTo>
                        <a:cubicBezTo>
                          <a:pt x="1746691" y="4555656"/>
                          <a:pt x="1740175" y="4575385"/>
                          <a:pt x="1733657" y="4588536"/>
                        </a:cubicBezTo>
                        <a:cubicBezTo>
                          <a:pt x="1727140" y="4601689"/>
                          <a:pt x="1733657" y="4608264"/>
                          <a:pt x="1740175" y="4621416"/>
                        </a:cubicBezTo>
                        <a:cubicBezTo>
                          <a:pt x="1746691" y="4634567"/>
                          <a:pt x="1746691" y="4647720"/>
                          <a:pt x="1746691" y="4660871"/>
                        </a:cubicBezTo>
                        <a:cubicBezTo>
                          <a:pt x="1746691" y="4687175"/>
                          <a:pt x="1733657" y="4700327"/>
                          <a:pt x="1733657" y="4720055"/>
                        </a:cubicBezTo>
                        <a:cubicBezTo>
                          <a:pt x="1733657" y="4726631"/>
                          <a:pt x="1733657" y="4739782"/>
                          <a:pt x="1733657" y="4746358"/>
                        </a:cubicBezTo>
                        <a:cubicBezTo>
                          <a:pt x="1733657" y="4752933"/>
                          <a:pt x="1740175" y="4752933"/>
                          <a:pt x="1746691" y="4759510"/>
                        </a:cubicBezTo>
                        <a:cubicBezTo>
                          <a:pt x="1746691" y="4766086"/>
                          <a:pt x="1746691" y="4772662"/>
                          <a:pt x="1746691" y="4779237"/>
                        </a:cubicBezTo>
                        <a:cubicBezTo>
                          <a:pt x="1746691" y="4792389"/>
                          <a:pt x="1746691" y="4798966"/>
                          <a:pt x="1740175" y="4812117"/>
                        </a:cubicBezTo>
                        <a:cubicBezTo>
                          <a:pt x="1740175" y="4825269"/>
                          <a:pt x="1746691" y="4831844"/>
                          <a:pt x="1740175" y="4844997"/>
                        </a:cubicBezTo>
                        <a:cubicBezTo>
                          <a:pt x="1733657" y="4851573"/>
                          <a:pt x="1720624" y="4858148"/>
                          <a:pt x="1720624" y="4871300"/>
                        </a:cubicBezTo>
                        <a:cubicBezTo>
                          <a:pt x="1714106" y="4891028"/>
                          <a:pt x="1733657" y="4910755"/>
                          <a:pt x="1727140" y="4937058"/>
                        </a:cubicBezTo>
                        <a:cubicBezTo>
                          <a:pt x="1720624" y="4956786"/>
                          <a:pt x="1707589" y="4976513"/>
                          <a:pt x="1707589" y="5002817"/>
                        </a:cubicBezTo>
                        <a:lnTo>
                          <a:pt x="1707589" y="5049786"/>
                        </a:lnTo>
                        <a:cubicBezTo>
                          <a:pt x="1614691" y="5010873"/>
                          <a:pt x="1524588" y="4966540"/>
                          <a:pt x="1438672" y="4915414"/>
                        </a:cubicBezTo>
                        <a:cubicBezTo>
                          <a:pt x="1373926" y="4570463"/>
                          <a:pt x="1359286" y="4168496"/>
                          <a:pt x="1393222" y="3789064"/>
                        </a:cubicBezTo>
                        <a:cubicBezTo>
                          <a:pt x="1483207" y="3781329"/>
                          <a:pt x="1569036" y="3771076"/>
                          <a:pt x="1652544" y="3757744"/>
                        </a:cubicBezTo>
                        <a:close/>
                        <a:moveTo>
                          <a:pt x="462309" y="3730640"/>
                        </a:moveTo>
                        <a:cubicBezTo>
                          <a:pt x="521227" y="3730640"/>
                          <a:pt x="568989" y="3778402"/>
                          <a:pt x="568989" y="3837320"/>
                        </a:cubicBezTo>
                        <a:cubicBezTo>
                          <a:pt x="568989" y="3896238"/>
                          <a:pt x="521227" y="3944000"/>
                          <a:pt x="462309" y="3944000"/>
                        </a:cubicBezTo>
                        <a:cubicBezTo>
                          <a:pt x="403391" y="3944000"/>
                          <a:pt x="355629" y="3896238"/>
                          <a:pt x="355629" y="3837320"/>
                        </a:cubicBezTo>
                        <a:cubicBezTo>
                          <a:pt x="355629" y="3778402"/>
                          <a:pt x="403391" y="3730640"/>
                          <a:pt x="462309" y="3730640"/>
                        </a:cubicBezTo>
                        <a:close/>
                        <a:moveTo>
                          <a:pt x="1548737" y="3047311"/>
                        </a:moveTo>
                        <a:cubicBezTo>
                          <a:pt x="1557698" y="3046490"/>
                          <a:pt x="1567474" y="3046490"/>
                          <a:pt x="1577249" y="3049777"/>
                        </a:cubicBezTo>
                        <a:cubicBezTo>
                          <a:pt x="1583766" y="3049777"/>
                          <a:pt x="1596800" y="3056353"/>
                          <a:pt x="1596800" y="3069505"/>
                        </a:cubicBezTo>
                        <a:cubicBezTo>
                          <a:pt x="1603317" y="3082657"/>
                          <a:pt x="1596800" y="3089233"/>
                          <a:pt x="1609834" y="3102384"/>
                        </a:cubicBezTo>
                        <a:cubicBezTo>
                          <a:pt x="1635902" y="3122113"/>
                          <a:pt x="1622868" y="3154992"/>
                          <a:pt x="1616351" y="3187871"/>
                        </a:cubicBezTo>
                        <a:cubicBezTo>
                          <a:pt x="1609834" y="3201023"/>
                          <a:pt x="1609834" y="3214175"/>
                          <a:pt x="1609834" y="3227326"/>
                        </a:cubicBezTo>
                        <a:cubicBezTo>
                          <a:pt x="1609834" y="3240479"/>
                          <a:pt x="1609834" y="3247055"/>
                          <a:pt x="1616351" y="3260206"/>
                        </a:cubicBezTo>
                        <a:cubicBezTo>
                          <a:pt x="1616351" y="3279934"/>
                          <a:pt x="1609834" y="3286510"/>
                          <a:pt x="1603317" y="3299661"/>
                        </a:cubicBezTo>
                        <a:cubicBezTo>
                          <a:pt x="1583766" y="3339117"/>
                          <a:pt x="1557698" y="3365420"/>
                          <a:pt x="1538147" y="3398299"/>
                        </a:cubicBezTo>
                        <a:cubicBezTo>
                          <a:pt x="1525113" y="3424602"/>
                          <a:pt x="1525113" y="3464058"/>
                          <a:pt x="1525113" y="3490362"/>
                        </a:cubicBezTo>
                        <a:cubicBezTo>
                          <a:pt x="1531630" y="3536393"/>
                          <a:pt x="1551181" y="3562697"/>
                          <a:pt x="1583766" y="3595577"/>
                        </a:cubicBezTo>
                        <a:cubicBezTo>
                          <a:pt x="1609834" y="3621880"/>
                          <a:pt x="1609834" y="3654759"/>
                          <a:pt x="1622868" y="3687639"/>
                        </a:cubicBezTo>
                        <a:cubicBezTo>
                          <a:pt x="1622868" y="3698979"/>
                          <a:pt x="1627713" y="3710319"/>
                          <a:pt x="1633395" y="3721575"/>
                        </a:cubicBezTo>
                        <a:cubicBezTo>
                          <a:pt x="1554127" y="3733626"/>
                          <a:pt x="1475050" y="3742859"/>
                          <a:pt x="1396120" y="3750408"/>
                        </a:cubicBezTo>
                        <a:cubicBezTo>
                          <a:pt x="1419231" y="3497496"/>
                          <a:pt x="1464221" y="3255901"/>
                          <a:pt x="1529413" y="3049328"/>
                        </a:cubicBezTo>
                        <a:cubicBezTo>
                          <a:pt x="1535093" y="3049122"/>
                          <a:pt x="1541661" y="3047961"/>
                          <a:pt x="1548737" y="3047311"/>
                        </a:cubicBezTo>
                        <a:close/>
                        <a:moveTo>
                          <a:pt x="4959037" y="3018772"/>
                        </a:moveTo>
                        <a:cubicBezTo>
                          <a:pt x="5036068" y="3082842"/>
                          <a:pt x="5119464" y="3152676"/>
                          <a:pt x="5164978" y="3191039"/>
                        </a:cubicBezTo>
                        <a:cubicBezTo>
                          <a:pt x="5117274" y="3435339"/>
                          <a:pt x="5034215" y="3666859"/>
                          <a:pt x="4921641" y="3880239"/>
                        </a:cubicBezTo>
                        <a:cubicBezTo>
                          <a:pt x="4921663" y="3879397"/>
                          <a:pt x="4921504" y="3878583"/>
                          <a:pt x="4921340" y="3877761"/>
                        </a:cubicBezTo>
                        <a:cubicBezTo>
                          <a:pt x="4921340" y="3864581"/>
                          <a:pt x="4921340" y="3857991"/>
                          <a:pt x="4921340" y="3844812"/>
                        </a:cubicBezTo>
                        <a:cubicBezTo>
                          <a:pt x="4927904" y="3831632"/>
                          <a:pt x="4927904" y="3818452"/>
                          <a:pt x="4914775" y="3811861"/>
                        </a:cubicBezTo>
                        <a:cubicBezTo>
                          <a:pt x="4911492" y="3808567"/>
                          <a:pt x="4904928" y="3805271"/>
                          <a:pt x="4898363" y="3803624"/>
                        </a:cubicBezTo>
                        <a:lnTo>
                          <a:pt x="4881952" y="3805271"/>
                        </a:lnTo>
                        <a:cubicBezTo>
                          <a:pt x="4868823" y="3805271"/>
                          <a:pt x="4868823" y="3818452"/>
                          <a:pt x="4862259" y="3825043"/>
                        </a:cubicBezTo>
                        <a:cubicBezTo>
                          <a:pt x="4855694" y="3831632"/>
                          <a:pt x="4855694" y="3838222"/>
                          <a:pt x="4842565" y="3851401"/>
                        </a:cubicBezTo>
                        <a:cubicBezTo>
                          <a:pt x="4822871" y="3864581"/>
                          <a:pt x="4783485" y="3871170"/>
                          <a:pt x="4776921" y="3897530"/>
                        </a:cubicBezTo>
                        <a:cubicBezTo>
                          <a:pt x="4763791" y="3917299"/>
                          <a:pt x="4776921" y="3937070"/>
                          <a:pt x="4776921" y="3956840"/>
                        </a:cubicBezTo>
                        <a:cubicBezTo>
                          <a:pt x="4783485" y="3983198"/>
                          <a:pt x="4783485" y="3996378"/>
                          <a:pt x="4763791" y="4016148"/>
                        </a:cubicBezTo>
                        <a:cubicBezTo>
                          <a:pt x="4750662" y="4029328"/>
                          <a:pt x="4737533" y="4055687"/>
                          <a:pt x="4737533" y="4075457"/>
                        </a:cubicBezTo>
                        <a:cubicBezTo>
                          <a:pt x="4737533" y="4101816"/>
                          <a:pt x="4750662" y="4108406"/>
                          <a:pt x="4763791" y="4128177"/>
                        </a:cubicBezTo>
                        <a:lnTo>
                          <a:pt x="4764599" y="4141159"/>
                        </a:lnTo>
                        <a:cubicBezTo>
                          <a:pt x="4409659" y="4660202"/>
                          <a:pt x="3869165" y="5039746"/>
                          <a:pt x="3239606" y="5181785"/>
                        </a:cubicBezTo>
                        <a:cubicBezTo>
                          <a:pt x="3108766" y="5065135"/>
                          <a:pt x="2983320" y="4952596"/>
                          <a:pt x="2908718" y="4857038"/>
                        </a:cubicBezTo>
                        <a:cubicBezTo>
                          <a:pt x="2945305" y="4824885"/>
                          <a:pt x="2967686" y="4777581"/>
                          <a:pt x="2967686" y="4725050"/>
                        </a:cubicBezTo>
                        <a:cubicBezTo>
                          <a:pt x="2967686" y="4625100"/>
                          <a:pt x="2886661" y="4544075"/>
                          <a:pt x="2786711" y="4544075"/>
                        </a:cubicBezTo>
                        <a:cubicBezTo>
                          <a:pt x="2754908" y="4544075"/>
                          <a:pt x="2725020" y="4552279"/>
                          <a:pt x="2700350" y="4569029"/>
                        </a:cubicBezTo>
                        <a:cubicBezTo>
                          <a:pt x="2586648" y="4431561"/>
                          <a:pt x="2493149" y="4288531"/>
                          <a:pt x="2402215" y="4149788"/>
                        </a:cubicBezTo>
                        <a:cubicBezTo>
                          <a:pt x="2403109" y="4149153"/>
                          <a:pt x="2404015" y="4148553"/>
                          <a:pt x="2404907" y="4147952"/>
                        </a:cubicBezTo>
                        <a:cubicBezTo>
                          <a:pt x="2411424" y="4141376"/>
                          <a:pt x="2424458" y="4134800"/>
                          <a:pt x="2437493" y="4121648"/>
                        </a:cubicBezTo>
                        <a:cubicBezTo>
                          <a:pt x="2444009" y="4121648"/>
                          <a:pt x="2444009" y="4115072"/>
                          <a:pt x="2450526" y="4108496"/>
                        </a:cubicBezTo>
                        <a:cubicBezTo>
                          <a:pt x="2470077" y="4101920"/>
                          <a:pt x="2496145" y="4088768"/>
                          <a:pt x="2515696" y="4082192"/>
                        </a:cubicBezTo>
                        <a:cubicBezTo>
                          <a:pt x="2528730" y="4075616"/>
                          <a:pt x="2548281" y="4075616"/>
                          <a:pt x="2554798" y="4055889"/>
                        </a:cubicBezTo>
                        <a:cubicBezTo>
                          <a:pt x="2554798" y="4049312"/>
                          <a:pt x="2554798" y="4036161"/>
                          <a:pt x="2554798" y="4029585"/>
                        </a:cubicBezTo>
                        <a:cubicBezTo>
                          <a:pt x="2554798" y="4016434"/>
                          <a:pt x="2561315" y="4009857"/>
                          <a:pt x="2567832" y="4003281"/>
                        </a:cubicBezTo>
                        <a:cubicBezTo>
                          <a:pt x="2574349" y="3996706"/>
                          <a:pt x="2587383" y="3983554"/>
                          <a:pt x="2593900" y="3970402"/>
                        </a:cubicBezTo>
                        <a:cubicBezTo>
                          <a:pt x="2600417" y="3957250"/>
                          <a:pt x="2600417" y="3950674"/>
                          <a:pt x="2600417" y="3930946"/>
                        </a:cubicBezTo>
                        <a:cubicBezTo>
                          <a:pt x="2593900" y="3924370"/>
                          <a:pt x="2600417" y="3917795"/>
                          <a:pt x="2606934" y="3904643"/>
                        </a:cubicBezTo>
                        <a:cubicBezTo>
                          <a:pt x="2613451" y="3891491"/>
                          <a:pt x="2613451" y="3871764"/>
                          <a:pt x="2613451" y="3858612"/>
                        </a:cubicBezTo>
                        <a:cubicBezTo>
                          <a:pt x="2613451" y="3838885"/>
                          <a:pt x="2600417" y="3825733"/>
                          <a:pt x="2600417" y="3806005"/>
                        </a:cubicBezTo>
                        <a:cubicBezTo>
                          <a:pt x="2600417" y="3792854"/>
                          <a:pt x="2600417" y="3786278"/>
                          <a:pt x="2606934" y="3773126"/>
                        </a:cubicBezTo>
                        <a:cubicBezTo>
                          <a:pt x="2613451" y="3766550"/>
                          <a:pt x="2619968" y="3753398"/>
                          <a:pt x="2626484" y="3746823"/>
                        </a:cubicBezTo>
                        <a:cubicBezTo>
                          <a:pt x="2633002" y="3746823"/>
                          <a:pt x="2639519" y="3746823"/>
                          <a:pt x="2652553" y="3740247"/>
                        </a:cubicBezTo>
                        <a:cubicBezTo>
                          <a:pt x="2659070" y="3727094"/>
                          <a:pt x="2665587" y="3713943"/>
                          <a:pt x="2672104" y="3694215"/>
                        </a:cubicBezTo>
                        <a:cubicBezTo>
                          <a:pt x="2678621" y="3687639"/>
                          <a:pt x="2678621" y="3681063"/>
                          <a:pt x="2685138" y="3674487"/>
                        </a:cubicBezTo>
                        <a:cubicBezTo>
                          <a:pt x="2685138" y="3667912"/>
                          <a:pt x="2691655" y="3661335"/>
                          <a:pt x="2698172" y="3661335"/>
                        </a:cubicBezTo>
                        <a:cubicBezTo>
                          <a:pt x="2711206" y="3654759"/>
                          <a:pt x="2717723" y="3641608"/>
                          <a:pt x="2724240" y="3635032"/>
                        </a:cubicBezTo>
                        <a:cubicBezTo>
                          <a:pt x="2728341" y="3622620"/>
                          <a:pt x="2732441" y="3607604"/>
                          <a:pt x="2731974" y="3591553"/>
                        </a:cubicBezTo>
                        <a:cubicBezTo>
                          <a:pt x="3176757" y="3492724"/>
                          <a:pt x="3530895" y="3400733"/>
                          <a:pt x="3875196" y="3278576"/>
                        </a:cubicBezTo>
                        <a:cubicBezTo>
                          <a:pt x="3874963" y="3303286"/>
                          <a:pt x="3869564" y="3328899"/>
                          <a:pt x="3864973" y="3352065"/>
                        </a:cubicBezTo>
                        <a:cubicBezTo>
                          <a:pt x="3858454" y="3378381"/>
                          <a:pt x="3871492" y="3417855"/>
                          <a:pt x="3891049" y="3444172"/>
                        </a:cubicBezTo>
                        <a:cubicBezTo>
                          <a:pt x="3910607" y="3470487"/>
                          <a:pt x="3936683" y="3490224"/>
                          <a:pt x="3949721" y="3516541"/>
                        </a:cubicBezTo>
                        <a:cubicBezTo>
                          <a:pt x="3962759" y="3529699"/>
                          <a:pt x="3969279" y="3549436"/>
                          <a:pt x="3969279" y="3562594"/>
                        </a:cubicBezTo>
                        <a:cubicBezTo>
                          <a:pt x="3969279" y="3575752"/>
                          <a:pt x="3969279" y="3582331"/>
                          <a:pt x="3975798" y="3588911"/>
                        </a:cubicBezTo>
                        <a:cubicBezTo>
                          <a:pt x="3975798" y="3621805"/>
                          <a:pt x="3956240" y="3641542"/>
                          <a:pt x="3975798" y="3667858"/>
                        </a:cubicBezTo>
                        <a:cubicBezTo>
                          <a:pt x="4008392" y="3713913"/>
                          <a:pt x="3956240" y="3773124"/>
                          <a:pt x="3943201" y="3819177"/>
                        </a:cubicBezTo>
                        <a:cubicBezTo>
                          <a:pt x="3936683" y="3852073"/>
                          <a:pt x="3923645" y="3898126"/>
                          <a:pt x="3943201" y="3924442"/>
                        </a:cubicBezTo>
                        <a:cubicBezTo>
                          <a:pt x="3949721" y="3931021"/>
                          <a:pt x="3962759" y="3937600"/>
                          <a:pt x="3969279" y="3944179"/>
                        </a:cubicBezTo>
                        <a:cubicBezTo>
                          <a:pt x="3982316" y="3963916"/>
                          <a:pt x="3982316" y="3983653"/>
                          <a:pt x="3988835" y="3996811"/>
                        </a:cubicBezTo>
                        <a:cubicBezTo>
                          <a:pt x="3995355" y="4009970"/>
                          <a:pt x="3995355" y="4029707"/>
                          <a:pt x="3995355" y="4042865"/>
                        </a:cubicBezTo>
                        <a:cubicBezTo>
                          <a:pt x="4001874" y="4062601"/>
                          <a:pt x="4014912" y="4069180"/>
                          <a:pt x="4021431" y="4088918"/>
                        </a:cubicBezTo>
                        <a:cubicBezTo>
                          <a:pt x="4027950" y="4141550"/>
                          <a:pt x="4014912" y="4187605"/>
                          <a:pt x="4034470" y="4233657"/>
                        </a:cubicBezTo>
                        <a:cubicBezTo>
                          <a:pt x="4047507" y="4259974"/>
                          <a:pt x="4060546" y="4286290"/>
                          <a:pt x="4073584" y="4312606"/>
                        </a:cubicBezTo>
                        <a:cubicBezTo>
                          <a:pt x="4086622" y="4325764"/>
                          <a:pt x="4093141" y="4338923"/>
                          <a:pt x="4093141" y="4358660"/>
                        </a:cubicBezTo>
                        <a:cubicBezTo>
                          <a:pt x="4099661" y="4384975"/>
                          <a:pt x="4086622" y="4417870"/>
                          <a:pt x="4086622" y="4444187"/>
                        </a:cubicBezTo>
                        <a:cubicBezTo>
                          <a:pt x="4093141" y="4483661"/>
                          <a:pt x="4125737" y="4483661"/>
                          <a:pt x="4158332" y="4470503"/>
                        </a:cubicBezTo>
                        <a:cubicBezTo>
                          <a:pt x="4177889" y="4463924"/>
                          <a:pt x="4197447" y="4457345"/>
                          <a:pt x="4223523" y="4457345"/>
                        </a:cubicBezTo>
                        <a:cubicBezTo>
                          <a:pt x="4262638" y="4463924"/>
                          <a:pt x="4308271" y="4470503"/>
                          <a:pt x="4340866" y="4450766"/>
                        </a:cubicBezTo>
                        <a:cubicBezTo>
                          <a:pt x="4360424" y="4437608"/>
                          <a:pt x="4379981" y="4411291"/>
                          <a:pt x="4393020" y="4398133"/>
                        </a:cubicBezTo>
                        <a:cubicBezTo>
                          <a:pt x="4406057" y="4384975"/>
                          <a:pt x="4406057" y="4365239"/>
                          <a:pt x="4412577" y="4352081"/>
                        </a:cubicBezTo>
                        <a:cubicBezTo>
                          <a:pt x="4425615" y="4312606"/>
                          <a:pt x="4471248" y="4299448"/>
                          <a:pt x="4484287" y="4259974"/>
                        </a:cubicBezTo>
                        <a:cubicBezTo>
                          <a:pt x="4490806" y="4240236"/>
                          <a:pt x="4490806" y="4220500"/>
                          <a:pt x="4490806" y="4200763"/>
                        </a:cubicBezTo>
                        <a:cubicBezTo>
                          <a:pt x="4503845" y="4174446"/>
                          <a:pt x="4536439" y="4167866"/>
                          <a:pt x="4542959" y="4134971"/>
                        </a:cubicBezTo>
                        <a:cubicBezTo>
                          <a:pt x="4549478" y="4108655"/>
                          <a:pt x="4575554" y="4049444"/>
                          <a:pt x="4549478" y="4023128"/>
                        </a:cubicBezTo>
                        <a:cubicBezTo>
                          <a:pt x="4536439" y="4009970"/>
                          <a:pt x="4523402" y="4009970"/>
                          <a:pt x="4529921" y="3990232"/>
                        </a:cubicBezTo>
                        <a:cubicBezTo>
                          <a:pt x="4536439" y="3970495"/>
                          <a:pt x="4555997" y="3957337"/>
                          <a:pt x="4575554" y="3944179"/>
                        </a:cubicBezTo>
                        <a:cubicBezTo>
                          <a:pt x="4601630" y="3931021"/>
                          <a:pt x="4627707" y="3931021"/>
                          <a:pt x="4647264" y="3904704"/>
                        </a:cubicBezTo>
                        <a:cubicBezTo>
                          <a:pt x="4666822" y="3884968"/>
                          <a:pt x="4666822" y="3858652"/>
                          <a:pt x="4673340" y="3832335"/>
                        </a:cubicBezTo>
                        <a:cubicBezTo>
                          <a:pt x="4673340" y="3799440"/>
                          <a:pt x="4686379" y="3773124"/>
                          <a:pt x="4692898" y="3740229"/>
                        </a:cubicBezTo>
                        <a:cubicBezTo>
                          <a:pt x="4692898" y="3713913"/>
                          <a:pt x="4686379" y="3681017"/>
                          <a:pt x="4679860" y="3648121"/>
                        </a:cubicBezTo>
                        <a:cubicBezTo>
                          <a:pt x="4666822" y="3621805"/>
                          <a:pt x="4660303" y="3588911"/>
                          <a:pt x="4653784" y="3569173"/>
                        </a:cubicBezTo>
                        <a:cubicBezTo>
                          <a:pt x="4647264" y="3556015"/>
                          <a:pt x="4640745" y="3542857"/>
                          <a:pt x="4640745" y="3529699"/>
                        </a:cubicBezTo>
                        <a:cubicBezTo>
                          <a:pt x="4640745" y="3509962"/>
                          <a:pt x="4647264" y="3483645"/>
                          <a:pt x="4653784" y="3463908"/>
                        </a:cubicBezTo>
                        <a:cubicBezTo>
                          <a:pt x="4660303" y="3450751"/>
                          <a:pt x="4673340" y="3450751"/>
                          <a:pt x="4679860" y="3437593"/>
                        </a:cubicBezTo>
                        <a:cubicBezTo>
                          <a:pt x="4686379" y="3431014"/>
                          <a:pt x="4686379" y="3417855"/>
                          <a:pt x="4692898" y="3411276"/>
                        </a:cubicBezTo>
                        <a:cubicBezTo>
                          <a:pt x="4705936" y="3391539"/>
                          <a:pt x="4725494" y="3378381"/>
                          <a:pt x="4745051" y="3358644"/>
                        </a:cubicBezTo>
                        <a:cubicBezTo>
                          <a:pt x="4764609" y="3338907"/>
                          <a:pt x="4784165" y="3312591"/>
                          <a:pt x="4803722" y="3286275"/>
                        </a:cubicBezTo>
                        <a:cubicBezTo>
                          <a:pt x="4810242" y="3273117"/>
                          <a:pt x="4810242" y="3259959"/>
                          <a:pt x="4816761" y="3253379"/>
                        </a:cubicBezTo>
                        <a:cubicBezTo>
                          <a:pt x="4836318" y="3220483"/>
                          <a:pt x="4875433" y="3207325"/>
                          <a:pt x="4901509" y="3181009"/>
                        </a:cubicBezTo>
                        <a:cubicBezTo>
                          <a:pt x="4914547" y="3161271"/>
                          <a:pt x="4914547" y="3148114"/>
                          <a:pt x="4914547" y="3128377"/>
                        </a:cubicBezTo>
                        <a:cubicBezTo>
                          <a:pt x="4914547" y="3102061"/>
                          <a:pt x="4921067" y="3088903"/>
                          <a:pt x="4934104" y="3062586"/>
                        </a:cubicBezTo>
                        <a:cubicBezTo>
                          <a:pt x="4940361" y="3049959"/>
                          <a:pt x="4952621" y="3037332"/>
                          <a:pt x="4959037" y="3018772"/>
                        </a:cubicBezTo>
                        <a:close/>
                        <a:moveTo>
                          <a:pt x="4803016" y="2890192"/>
                        </a:moveTo>
                        <a:cubicBezTo>
                          <a:pt x="4820668" y="2904312"/>
                          <a:pt x="4850472" y="2928768"/>
                          <a:pt x="4886057" y="2958205"/>
                        </a:cubicBezTo>
                        <a:cubicBezTo>
                          <a:pt x="4885178" y="2960096"/>
                          <a:pt x="4883838" y="2961998"/>
                          <a:pt x="4881952" y="2963901"/>
                        </a:cubicBezTo>
                        <a:cubicBezTo>
                          <a:pt x="4862395" y="2970480"/>
                          <a:pt x="4842837" y="2963901"/>
                          <a:pt x="4823280" y="2963901"/>
                        </a:cubicBezTo>
                        <a:cubicBezTo>
                          <a:pt x="4816761" y="2963901"/>
                          <a:pt x="4803722" y="2963901"/>
                          <a:pt x="4790685" y="2963901"/>
                        </a:cubicBezTo>
                        <a:cubicBezTo>
                          <a:pt x="4777646" y="2957322"/>
                          <a:pt x="4777646" y="2950743"/>
                          <a:pt x="4771127" y="2937585"/>
                        </a:cubicBezTo>
                        <a:lnTo>
                          <a:pt x="4760609" y="2920658"/>
                        </a:lnTo>
                        <a:cubicBezTo>
                          <a:pt x="4777292" y="2914129"/>
                          <a:pt x="4791700" y="2903704"/>
                          <a:pt x="4803016" y="2890192"/>
                        </a:cubicBezTo>
                        <a:close/>
                        <a:moveTo>
                          <a:pt x="1665982" y="2869710"/>
                        </a:moveTo>
                        <a:lnTo>
                          <a:pt x="1719532" y="2981006"/>
                        </a:lnTo>
                        <a:cubicBezTo>
                          <a:pt x="1715881" y="2980234"/>
                          <a:pt x="1712131" y="2981727"/>
                          <a:pt x="1707589" y="2984018"/>
                        </a:cubicBezTo>
                        <a:cubicBezTo>
                          <a:pt x="1694555" y="2990594"/>
                          <a:pt x="1681521" y="2997170"/>
                          <a:pt x="1675004" y="3010322"/>
                        </a:cubicBezTo>
                        <a:cubicBezTo>
                          <a:pt x="1668487" y="3023473"/>
                          <a:pt x="1668487" y="3043202"/>
                          <a:pt x="1655453" y="3049777"/>
                        </a:cubicBezTo>
                        <a:cubicBezTo>
                          <a:pt x="1648936" y="3056353"/>
                          <a:pt x="1629385" y="3056353"/>
                          <a:pt x="1622868" y="3049777"/>
                        </a:cubicBezTo>
                        <a:cubicBezTo>
                          <a:pt x="1609834" y="3043202"/>
                          <a:pt x="1596800" y="3030049"/>
                          <a:pt x="1583766" y="3023473"/>
                        </a:cubicBezTo>
                        <a:cubicBezTo>
                          <a:pt x="1568052" y="3018188"/>
                          <a:pt x="1552337" y="3025647"/>
                          <a:pt x="1536433" y="3027828"/>
                        </a:cubicBezTo>
                        <a:cubicBezTo>
                          <a:pt x="1552912" y="2974808"/>
                          <a:pt x="1571420" y="2924407"/>
                          <a:pt x="1591463" y="2876899"/>
                        </a:cubicBezTo>
                        <a:cubicBezTo>
                          <a:pt x="1598560" y="2878655"/>
                          <a:pt x="1605895" y="2879104"/>
                          <a:pt x="1613334" y="2879104"/>
                        </a:cubicBezTo>
                        <a:close/>
                        <a:moveTo>
                          <a:pt x="4676169" y="2656661"/>
                        </a:moveTo>
                        <a:cubicBezTo>
                          <a:pt x="4735087" y="2656661"/>
                          <a:pt x="4782849" y="2704423"/>
                          <a:pt x="4782849" y="2763341"/>
                        </a:cubicBezTo>
                        <a:cubicBezTo>
                          <a:pt x="4782849" y="2822259"/>
                          <a:pt x="4735087" y="2870021"/>
                          <a:pt x="4676169" y="2870021"/>
                        </a:cubicBezTo>
                        <a:cubicBezTo>
                          <a:pt x="4617251" y="2870021"/>
                          <a:pt x="4569489" y="2822259"/>
                          <a:pt x="4569489" y="2763341"/>
                        </a:cubicBezTo>
                        <a:cubicBezTo>
                          <a:pt x="4569489" y="2704423"/>
                          <a:pt x="4617251" y="2656661"/>
                          <a:pt x="4676169" y="2656661"/>
                        </a:cubicBezTo>
                        <a:close/>
                        <a:moveTo>
                          <a:pt x="1617042" y="2589226"/>
                        </a:moveTo>
                        <a:cubicBezTo>
                          <a:pt x="1675960" y="2589226"/>
                          <a:pt x="1723722" y="2636988"/>
                          <a:pt x="1723722" y="2695906"/>
                        </a:cubicBezTo>
                        <a:cubicBezTo>
                          <a:pt x="1723722" y="2749566"/>
                          <a:pt x="1684105" y="2793972"/>
                          <a:pt x="1632240" y="2799518"/>
                        </a:cubicBezTo>
                        <a:cubicBezTo>
                          <a:pt x="1632429" y="2799976"/>
                          <a:pt x="1632643" y="2800422"/>
                          <a:pt x="1632858" y="2800867"/>
                        </a:cubicBezTo>
                        <a:cubicBezTo>
                          <a:pt x="1626799" y="2804172"/>
                          <a:pt x="1620141" y="2804809"/>
                          <a:pt x="1613334" y="2804809"/>
                        </a:cubicBezTo>
                        <a:cubicBezTo>
                          <a:pt x="1554416" y="2804809"/>
                          <a:pt x="1506654" y="2757047"/>
                          <a:pt x="1506654" y="2698129"/>
                        </a:cubicBezTo>
                        <a:cubicBezTo>
                          <a:pt x="1506654" y="2672937"/>
                          <a:pt x="1515386" y="2649784"/>
                          <a:pt x="1532562" y="2633889"/>
                        </a:cubicBezTo>
                        <a:cubicBezTo>
                          <a:pt x="1535652" y="2626501"/>
                          <a:pt x="1540931" y="2620754"/>
                          <a:pt x="1547520" y="2616486"/>
                        </a:cubicBezTo>
                        <a:cubicBezTo>
                          <a:pt x="1547628" y="2616155"/>
                          <a:pt x="1547856" y="2615990"/>
                          <a:pt x="1548086" y="2615827"/>
                        </a:cubicBezTo>
                        <a:lnTo>
                          <a:pt x="1548183" y="2616039"/>
                        </a:lnTo>
                        <a:cubicBezTo>
                          <a:pt x="1566071" y="2598980"/>
                          <a:pt x="1590417" y="2589226"/>
                          <a:pt x="1617042" y="2589226"/>
                        </a:cubicBezTo>
                        <a:close/>
                        <a:moveTo>
                          <a:pt x="4515253" y="2367675"/>
                        </a:moveTo>
                        <a:lnTo>
                          <a:pt x="4542959" y="2371787"/>
                        </a:lnTo>
                        <a:cubicBezTo>
                          <a:pt x="4555997" y="2384945"/>
                          <a:pt x="4575554" y="2404682"/>
                          <a:pt x="4582073" y="2424420"/>
                        </a:cubicBezTo>
                        <a:cubicBezTo>
                          <a:pt x="4588593" y="2437577"/>
                          <a:pt x="4588593" y="2450735"/>
                          <a:pt x="4601630" y="2470472"/>
                        </a:cubicBezTo>
                        <a:cubicBezTo>
                          <a:pt x="4608149" y="2483630"/>
                          <a:pt x="4614669" y="2490209"/>
                          <a:pt x="4621188" y="2516526"/>
                        </a:cubicBezTo>
                        <a:cubicBezTo>
                          <a:pt x="4627707" y="2536263"/>
                          <a:pt x="4634227" y="2549421"/>
                          <a:pt x="4647264" y="2562579"/>
                        </a:cubicBezTo>
                        <a:lnTo>
                          <a:pt x="4656263" y="2584373"/>
                        </a:lnTo>
                        <a:cubicBezTo>
                          <a:pt x="4634524" y="2585839"/>
                          <a:pt x="4614034" y="2592033"/>
                          <a:pt x="4596205" y="2603007"/>
                        </a:cubicBezTo>
                        <a:cubicBezTo>
                          <a:pt x="4582714" y="2584182"/>
                          <a:pt x="4569671" y="2564502"/>
                          <a:pt x="4562516" y="2542842"/>
                        </a:cubicBezTo>
                        <a:cubicBezTo>
                          <a:pt x="4555997" y="2529684"/>
                          <a:pt x="4562516" y="2503368"/>
                          <a:pt x="4555997" y="2483630"/>
                        </a:cubicBezTo>
                        <a:cubicBezTo>
                          <a:pt x="4549478" y="2470472"/>
                          <a:pt x="4536439" y="2450735"/>
                          <a:pt x="4529921" y="2430998"/>
                        </a:cubicBezTo>
                        <a:cubicBezTo>
                          <a:pt x="4523402" y="2424420"/>
                          <a:pt x="4490806" y="2391524"/>
                          <a:pt x="4497325" y="2378366"/>
                        </a:cubicBezTo>
                        <a:cubicBezTo>
                          <a:pt x="4497325" y="2368498"/>
                          <a:pt x="4505474" y="2366853"/>
                          <a:pt x="4515253" y="2367675"/>
                        </a:cubicBezTo>
                        <a:close/>
                        <a:moveTo>
                          <a:pt x="4920455" y="2321621"/>
                        </a:moveTo>
                        <a:cubicBezTo>
                          <a:pt x="4927178" y="2321210"/>
                          <a:pt x="4934105" y="2322444"/>
                          <a:pt x="4940624" y="2325733"/>
                        </a:cubicBezTo>
                        <a:cubicBezTo>
                          <a:pt x="4953662" y="2345471"/>
                          <a:pt x="4953662" y="2371787"/>
                          <a:pt x="4966700" y="2391524"/>
                        </a:cubicBezTo>
                        <a:cubicBezTo>
                          <a:pt x="4979738" y="2424420"/>
                          <a:pt x="5005814" y="2424420"/>
                          <a:pt x="5038410" y="2424420"/>
                        </a:cubicBezTo>
                        <a:cubicBezTo>
                          <a:pt x="5071005" y="2424420"/>
                          <a:pt x="5090563" y="2424420"/>
                          <a:pt x="5116639" y="2450735"/>
                        </a:cubicBezTo>
                        <a:cubicBezTo>
                          <a:pt x="5129677" y="2463893"/>
                          <a:pt x="5142716" y="2483630"/>
                          <a:pt x="5168792" y="2483630"/>
                        </a:cubicBezTo>
                        <a:cubicBezTo>
                          <a:pt x="5178342" y="2488449"/>
                          <a:pt x="5191389" y="2489738"/>
                          <a:pt x="5205269" y="2493172"/>
                        </a:cubicBezTo>
                        <a:cubicBezTo>
                          <a:pt x="5212550" y="2557094"/>
                          <a:pt x="5214977" y="2621868"/>
                          <a:pt x="5214977" y="2687211"/>
                        </a:cubicBezTo>
                        <a:cubicBezTo>
                          <a:pt x="5214977" y="2843611"/>
                          <a:pt x="5201071" y="2996733"/>
                          <a:pt x="5173973" y="3145285"/>
                        </a:cubicBezTo>
                        <a:lnTo>
                          <a:pt x="4979683" y="2983744"/>
                        </a:lnTo>
                        <a:cubicBezTo>
                          <a:pt x="4979703" y="2983709"/>
                          <a:pt x="4979721" y="2983674"/>
                          <a:pt x="4979738" y="2983638"/>
                        </a:cubicBezTo>
                        <a:cubicBezTo>
                          <a:pt x="4979738" y="2970480"/>
                          <a:pt x="4992777" y="2944164"/>
                          <a:pt x="4986258" y="2931006"/>
                        </a:cubicBezTo>
                        <a:cubicBezTo>
                          <a:pt x="4979738" y="2917847"/>
                          <a:pt x="4966700" y="2924427"/>
                          <a:pt x="4960181" y="2931006"/>
                        </a:cubicBezTo>
                        <a:cubicBezTo>
                          <a:pt x="4950715" y="2940560"/>
                          <a:pt x="4944685" y="2943177"/>
                          <a:pt x="4934541" y="2946211"/>
                        </a:cubicBezTo>
                        <a:lnTo>
                          <a:pt x="4855832" y="2880769"/>
                        </a:lnTo>
                        <a:cubicBezTo>
                          <a:pt x="4860129" y="2879037"/>
                          <a:pt x="4864521" y="2878373"/>
                          <a:pt x="4868913" y="2878373"/>
                        </a:cubicBezTo>
                        <a:cubicBezTo>
                          <a:pt x="4888471" y="2871794"/>
                          <a:pt x="4908028" y="2878373"/>
                          <a:pt x="4927586" y="2871794"/>
                        </a:cubicBezTo>
                        <a:cubicBezTo>
                          <a:pt x="4934104" y="2865216"/>
                          <a:pt x="4934104" y="2845479"/>
                          <a:pt x="4947143" y="2838900"/>
                        </a:cubicBezTo>
                        <a:cubicBezTo>
                          <a:pt x="4960181" y="2832320"/>
                          <a:pt x="4979738" y="2845479"/>
                          <a:pt x="4992777" y="2825741"/>
                        </a:cubicBezTo>
                        <a:cubicBezTo>
                          <a:pt x="4999295" y="2819162"/>
                          <a:pt x="4992777" y="2799425"/>
                          <a:pt x="4999295" y="2792846"/>
                        </a:cubicBezTo>
                        <a:cubicBezTo>
                          <a:pt x="5005814" y="2766530"/>
                          <a:pt x="5044929" y="2759951"/>
                          <a:pt x="5064486" y="2746792"/>
                        </a:cubicBezTo>
                        <a:cubicBezTo>
                          <a:pt x="5077525" y="2746792"/>
                          <a:pt x="5090563" y="2733633"/>
                          <a:pt x="5103601" y="2733633"/>
                        </a:cubicBezTo>
                        <a:cubicBezTo>
                          <a:pt x="5116639" y="2727054"/>
                          <a:pt x="5136196" y="2720475"/>
                          <a:pt x="5149235" y="2713897"/>
                        </a:cubicBezTo>
                        <a:cubicBezTo>
                          <a:pt x="5168792" y="2700739"/>
                          <a:pt x="5175311" y="2667843"/>
                          <a:pt x="5175311" y="2648106"/>
                        </a:cubicBezTo>
                        <a:cubicBezTo>
                          <a:pt x="5181830" y="2621790"/>
                          <a:pt x="5188350" y="2595474"/>
                          <a:pt x="5175311" y="2569157"/>
                        </a:cubicBezTo>
                        <a:cubicBezTo>
                          <a:pt x="5162273" y="2542842"/>
                          <a:pt x="5136196" y="2542842"/>
                          <a:pt x="5123159" y="2523105"/>
                        </a:cubicBezTo>
                        <a:cubicBezTo>
                          <a:pt x="5110120" y="2509947"/>
                          <a:pt x="5110120" y="2496788"/>
                          <a:pt x="5090563" y="2503368"/>
                        </a:cubicBezTo>
                        <a:cubicBezTo>
                          <a:pt x="5071005" y="2503368"/>
                          <a:pt x="5077525" y="2542842"/>
                          <a:pt x="5051449" y="2549421"/>
                        </a:cubicBezTo>
                        <a:cubicBezTo>
                          <a:pt x="5025372" y="2562579"/>
                          <a:pt x="4979738" y="2529684"/>
                          <a:pt x="4960181" y="2516526"/>
                        </a:cubicBezTo>
                        <a:cubicBezTo>
                          <a:pt x="4947143" y="2503368"/>
                          <a:pt x="4940624" y="2490209"/>
                          <a:pt x="4934104" y="2477051"/>
                        </a:cubicBezTo>
                        <a:cubicBezTo>
                          <a:pt x="4934104" y="2463893"/>
                          <a:pt x="4934104" y="2450735"/>
                          <a:pt x="4934104" y="2437577"/>
                        </a:cubicBezTo>
                        <a:cubicBezTo>
                          <a:pt x="4927586" y="2417840"/>
                          <a:pt x="4914547" y="2404682"/>
                          <a:pt x="4901509" y="2391524"/>
                        </a:cubicBezTo>
                        <a:cubicBezTo>
                          <a:pt x="4888471" y="2384945"/>
                          <a:pt x="4888471" y="2371787"/>
                          <a:pt x="4881952" y="2358629"/>
                        </a:cubicBezTo>
                        <a:cubicBezTo>
                          <a:pt x="4881952" y="2338891"/>
                          <a:pt x="4900287" y="2322855"/>
                          <a:pt x="4920455" y="2321621"/>
                        </a:cubicBezTo>
                        <a:close/>
                        <a:moveTo>
                          <a:pt x="1362188" y="2313278"/>
                        </a:moveTo>
                        <a:cubicBezTo>
                          <a:pt x="1387194" y="2313278"/>
                          <a:pt x="1408361" y="2317151"/>
                          <a:pt x="1427105" y="2333107"/>
                        </a:cubicBezTo>
                        <a:cubicBezTo>
                          <a:pt x="1457852" y="2407444"/>
                          <a:pt x="1488228" y="2478997"/>
                          <a:pt x="1518593" y="2548209"/>
                        </a:cubicBezTo>
                        <a:cubicBezTo>
                          <a:pt x="1507316" y="2551717"/>
                          <a:pt x="1498450" y="2558846"/>
                          <a:pt x="1490360" y="2566793"/>
                        </a:cubicBezTo>
                        <a:cubicBezTo>
                          <a:pt x="1485963" y="2565735"/>
                          <a:pt x="1481621" y="2565994"/>
                          <a:pt x="1478640" y="2569036"/>
                        </a:cubicBezTo>
                        <a:cubicBezTo>
                          <a:pt x="1465611" y="2569036"/>
                          <a:pt x="1459098" y="2569036"/>
                          <a:pt x="1459098" y="2575688"/>
                        </a:cubicBezTo>
                        <a:cubicBezTo>
                          <a:pt x="1450534" y="2588806"/>
                          <a:pt x="1461672" y="2590427"/>
                          <a:pt x="1472152" y="2589758"/>
                        </a:cubicBezTo>
                        <a:cubicBezTo>
                          <a:pt x="1446308" y="2618446"/>
                          <a:pt x="1432359" y="2656658"/>
                          <a:pt x="1432359" y="2698129"/>
                        </a:cubicBezTo>
                        <a:cubicBezTo>
                          <a:pt x="1432359" y="2778081"/>
                          <a:pt x="1484204" y="2845923"/>
                          <a:pt x="1556377" y="2869069"/>
                        </a:cubicBezTo>
                        <a:lnTo>
                          <a:pt x="1501687" y="3028094"/>
                        </a:lnTo>
                        <a:cubicBezTo>
                          <a:pt x="1493723" y="3026583"/>
                          <a:pt x="1485837" y="3023298"/>
                          <a:pt x="1479494" y="3016898"/>
                        </a:cubicBezTo>
                        <a:cubicBezTo>
                          <a:pt x="1472978" y="3003746"/>
                          <a:pt x="1472978" y="2984018"/>
                          <a:pt x="1472978" y="2970867"/>
                        </a:cubicBezTo>
                        <a:cubicBezTo>
                          <a:pt x="1466460" y="2957714"/>
                          <a:pt x="1459943" y="2951138"/>
                          <a:pt x="1453427" y="2937987"/>
                        </a:cubicBezTo>
                        <a:cubicBezTo>
                          <a:pt x="1446909" y="2931411"/>
                          <a:pt x="1446909" y="2911683"/>
                          <a:pt x="1446909" y="2898531"/>
                        </a:cubicBezTo>
                        <a:cubicBezTo>
                          <a:pt x="1446909" y="2872228"/>
                          <a:pt x="1453427" y="2852501"/>
                          <a:pt x="1440392" y="2826197"/>
                        </a:cubicBezTo>
                        <a:cubicBezTo>
                          <a:pt x="1433876" y="2819622"/>
                          <a:pt x="1427358" y="2806470"/>
                          <a:pt x="1420841" y="2806470"/>
                        </a:cubicBezTo>
                        <a:cubicBezTo>
                          <a:pt x="1401290" y="2799893"/>
                          <a:pt x="1388256" y="2806470"/>
                          <a:pt x="1375223" y="2806470"/>
                        </a:cubicBezTo>
                        <a:cubicBezTo>
                          <a:pt x="1362188" y="2813046"/>
                          <a:pt x="1349154" y="2813046"/>
                          <a:pt x="1336121" y="2813046"/>
                        </a:cubicBezTo>
                        <a:cubicBezTo>
                          <a:pt x="1323086" y="2813046"/>
                          <a:pt x="1310052" y="2806470"/>
                          <a:pt x="1316569" y="2793318"/>
                        </a:cubicBezTo>
                        <a:cubicBezTo>
                          <a:pt x="1329603" y="2780166"/>
                          <a:pt x="1342637" y="2767015"/>
                          <a:pt x="1342637" y="2753862"/>
                        </a:cubicBezTo>
                        <a:cubicBezTo>
                          <a:pt x="1349154" y="2740711"/>
                          <a:pt x="1342637" y="2740711"/>
                          <a:pt x="1336121" y="2727559"/>
                        </a:cubicBezTo>
                        <a:cubicBezTo>
                          <a:pt x="1336076" y="2727481"/>
                          <a:pt x="1329623" y="2714407"/>
                          <a:pt x="1336121" y="2714407"/>
                        </a:cubicBezTo>
                        <a:cubicBezTo>
                          <a:pt x="1336168" y="2714459"/>
                          <a:pt x="1342559" y="2720904"/>
                          <a:pt x="1342637" y="2720983"/>
                        </a:cubicBezTo>
                        <a:cubicBezTo>
                          <a:pt x="1349154" y="2720983"/>
                          <a:pt x="1355672" y="2720983"/>
                          <a:pt x="1362188" y="2720983"/>
                        </a:cubicBezTo>
                        <a:cubicBezTo>
                          <a:pt x="1362188" y="2714407"/>
                          <a:pt x="1355672" y="2701255"/>
                          <a:pt x="1362188" y="2694680"/>
                        </a:cubicBezTo>
                        <a:cubicBezTo>
                          <a:pt x="1362188" y="2688104"/>
                          <a:pt x="1362188" y="2674951"/>
                          <a:pt x="1368705" y="2668376"/>
                        </a:cubicBezTo>
                        <a:cubicBezTo>
                          <a:pt x="1368705" y="2655224"/>
                          <a:pt x="1375223" y="2642072"/>
                          <a:pt x="1368705" y="2628920"/>
                        </a:cubicBezTo>
                        <a:cubicBezTo>
                          <a:pt x="1362188" y="2622345"/>
                          <a:pt x="1349154" y="2615769"/>
                          <a:pt x="1342637" y="2615769"/>
                        </a:cubicBezTo>
                        <a:cubicBezTo>
                          <a:pt x="1323086" y="2615769"/>
                          <a:pt x="1303536" y="2628920"/>
                          <a:pt x="1290501" y="2642072"/>
                        </a:cubicBezTo>
                        <a:cubicBezTo>
                          <a:pt x="1277467" y="2655224"/>
                          <a:pt x="1270950" y="2674951"/>
                          <a:pt x="1264434" y="2688104"/>
                        </a:cubicBezTo>
                        <a:cubicBezTo>
                          <a:pt x="1251399" y="2707831"/>
                          <a:pt x="1218814" y="2714407"/>
                          <a:pt x="1199263" y="2720983"/>
                        </a:cubicBezTo>
                        <a:cubicBezTo>
                          <a:pt x="1186230" y="2720983"/>
                          <a:pt x="1173195" y="2727559"/>
                          <a:pt x="1160161" y="2727559"/>
                        </a:cubicBezTo>
                        <a:cubicBezTo>
                          <a:pt x="1147128" y="2720983"/>
                          <a:pt x="1147128" y="2701255"/>
                          <a:pt x="1140610" y="2688104"/>
                        </a:cubicBezTo>
                        <a:cubicBezTo>
                          <a:pt x="1134093" y="2681527"/>
                          <a:pt x="1127577" y="2668376"/>
                          <a:pt x="1121059" y="2661800"/>
                        </a:cubicBezTo>
                        <a:cubicBezTo>
                          <a:pt x="1101508" y="2642072"/>
                          <a:pt x="1094992" y="2602616"/>
                          <a:pt x="1094992" y="2576313"/>
                        </a:cubicBezTo>
                        <a:cubicBezTo>
                          <a:pt x="1094992" y="2556585"/>
                          <a:pt x="1094992" y="2536858"/>
                          <a:pt x="1101508" y="2523705"/>
                        </a:cubicBezTo>
                        <a:cubicBezTo>
                          <a:pt x="1101508" y="2510554"/>
                          <a:pt x="1108026" y="2503978"/>
                          <a:pt x="1108026" y="2490827"/>
                        </a:cubicBezTo>
                        <a:cubicBezTo>
                          <a:pt x="1108026" y="2477674"/>
                          <a:pt x="1108026" y="2464523"/>
                          <a:pt x="1108026" y="2444795"/>
                        </a:cubicBezTo>
                        <a:cubicBezTo>
                          <a:pt x="1114543" y="2425067"/>
                          <a:pt x="1121059" y="2411916"/>
                          <a:pt x="1134093" y="2392188"/>
                        </a:cubicBezTo>
                        <a:cubicBezTo>
                          <a:pt x="1134188" y="2392094"/>
                          <a:pt x="1140610" y="2385567"/>
                          <a:pt x="1140610" y="2379037"/>
                        </a:cubicBezTo>
                        <a:cubicBezTo>
                          <a:pt x="1147128" y="2372462"/>
                          <a:pt x="1166679" y="2365885"/>
                          <a:pt x="1173195" y="2359309"/>
                        </a:cubicBezTo>
                        <a:cubicBezTo>
                          <a:pt x="1192746" y="2352733"/>
                          <a:pt x="1218814" y="2333006"/>
                          <a:pt x="1238365" y="2339582"/>
                        </a:cubicBezTo>
                        <a:cubicBezTo>
                          <a:pt x="1264434" y="2339582"/>
                          <a:pt x="1283985" y="2365885"/>
                          <a:pt x="1310052" y="2359309"/>
                        </a:cubicBezTo>
                        <a:cubicBezTo>
                          <a:pt x="1323086" y="2352733"/>
                          <a:pt x="1316569" y="2339582"/>
                          <a:pt x="1316569" y="2333006"/>
                        </a:cubicBezTo>
                        <a:cubicBezTo>
                          <a:pt x="1323086" y="2319854"/>
                          <a:pt x="1349154" y="2319854"/>
                          <a:pt x="1362188" y="2313278"/>
                        </a:cubicBezTo>
                        <a:close/>
                        <a:moveTo>
                          <a:pt x="3205841" y="1867153"/>
                        </a:moveTo>
                        <a:lnTo>
                          <a:pt x="3397286" y="1964191"/>
                        </a:lnTo>
                        <a:cubicBezTo>
                          <a:pt x="3387349" y="1974607"/>
                          <a:pt x="3383586" y="1985694"/>
                          <a:pt x="3389078" y="1996780"/>
                        </a:cubicBezTo>
                        <a:cubicBezTo>
                          <a:pt x="3389078" y="2023097"/>
                          <a:pt x="3402117" y="2055992"/>
                          <a:pt x="3421674" y="2069150"/>
                        </a:cubicBezTo>
                        <a:cubicBezTo>
                          <a:pt x="3434712" y="2069150"/>
                          <a:pt x="3447751" y="2075729"/>
                          <a:pt x="3454269" y="2075729"/>
                        </a:cubicBezTo>
                        <a:cubicBezTo>
                          <a:pt x="3467308" y="2088888"/>
                          <a:pt x="3480346" y="2095467"/>
                          <a:pt x="3499903" y="2095467"/>
                        </a:cubicBezTo>
                        <a:cubicBezTo>
                          <a:pt x="3512942" y="2095467"/>
                          <a:pt x="3519460" y="2088888"/>
                          <a:pt x="3532499" y="2088888"/>
                        </a:cubicBezTo>
                        <a:cubicBezTo>
                          <a:pt x="3545537" y="2088888"/>
                          <a:pt x="3552057" y="2102046"/>
                          <a:pt x="3565094" y="2095467"/>
                        </a:cubicBezTo>
                        <a:cubicBezTo>
                          <a:pt x="3578133" y="2095467"/>
                          <a:pt x="3584651" y="2088888"/>
                          <a:pt x="3591170" y="2075729"/>
                        </a:cubicBezTo>
                        <a:lnTo>
                          <a:pt x="3594690" y="2066849"/>
                        </a:lnTo>
                        <a:lnTo>
                          <a:pt x="3669022" y="2107375"/>
                        </a:lnTo>
                        <a:cubicBezTo>
                          <a:pt x="3660251" y="2109916"/>
                          <a:pt x="3652162" y="2115094"/>
                          <a:pt x="3643324" y="2121783"/>
                        </a:cubicBezTo>
                        <a:cubicBezTo>
                          <a:pt x="3610728" y="2141519"/>
                          <a:pt x="3591170" y="2161256"/>
                          <a:pt x="3558575" y="2148098"/>
                        </a:cubicBezTo>
                        <a:cubicBezTo>
                          <a:pt x="3539018" y="2141519"/>
                          <a:pt x="3539018" y="2148098"/>
                          <a:pt x="3519460" y="2148098"/>
                        </a:cubicBezTo>
                        <a:cubicBezTo>
                          <a:pt x="3506423" y="2148098"/>
                          <a:pt x="3499903" y="2128361"/>
                          <a:pt x="3486865" y="2128361"/>
                        </a:cubicBezTo>
                        <a:cubicBezTo>
                          <a:pt x="3447751" y="2134940"/>
                          <a:pt x="3467308" y="2167835"/>
                          <a:pt x="3460789" y="2187573"/>
                        </a:cubicBezTo>
                        <a:cubicBezTo>
                          <a:pt x="3458220" y="2195351"/>
                          <a:pt x="3451601" y="2200064"/>
                          <a:pt x="3443526" y="2203296"/>
                        </a:cubicBezTo>
                        <a:cubicBezTo>
                          <a:pt x="3365505" y="2086791"/>
                          <a:pt x="3286717" y="1974433"/>
                          <a:pt x="3205841" y="1867153"/>
                        </a:cubicBezTo>
                        <a:close/>
                        <a:moveTo>
                          <a:pt x="3969279" y="1786252"/>
                        </a:moveTo>
                        <a:cubicBezTo>
                          <a:pt x="3982316" y="1792831"/>
                          <a:pt x="3988835" y="1799410"/>
                          <a:pt x="3995355" y="1805989"/>
                        </a:cubicBezTo>
                        <a:cubicBezTo>
                          <a:pt x="4001874" y="1819147"/>
                          <a:pt x="4008392" y="1832305"/>
                          <a:pt x="4021431" y="1838885"/>
                        </a:cubicBezTo>
                        <a:cubicBezTo>
                          <a:pt x="4034470" y="1858621"/>
                          <a:pt x="4054026" y="1871779"/>
                          <a:pt x="4073584" y="1878358"/>
                        </a:cubicBezTo>
                        <a:cubicBezTo>
                          <a:pt x="4086622" y="1884937"/>
                          <a:pt x="4106180" y="1891516"/>
                          <a:pt x="4119217" y="1898095"/>
                        </a:cubicBezTo>
                        <a:cubicBezTo>
                          <a:pt x="4125737" y="1904674"/>
                          <a:pt x="4132256" y="1911253"/>
                          <a:pt x="4138775" y="1924412"/>
                        </a:cubicBezTo>
                        <a:cubicBezTo>
                          <a:pt x="4138775" y="1937570"/>
                          <a:pt x="4138775" y="1950728"/>
                          <a:pt x="4138775" y="1970465"/>
                        </a:cubicBezTo>
                        <a:cubicBezTo>
                          <a:pt x="4145294" y="1983623"/>
                          <a:pt x="4151813" y="1996780"/>
                          <a:pt x="4164851" y="2009939"/>
                        </a:cubicBezTo>
                        <a:cubicBezTo>
                          <a:pt x="4171371" y="2016518"/>
                          <a:pt x="4171371" y="2016518"/>
                          <a:pt x="4177889" y="2023097"/>
                        </a:cubicBezTo>
                        <a:cubicBezTo>
                          <a:pt x="4184408" y="2029676"/>
                          <a:pt x="4184408" y="2029676"/>
                          <a:pt x="4190928" y="2036255"/>
                        </a:cubicBezTo>
                        <a:cubicBezTo>
                          <a:pt x="4197447" y="2042834"/>
                          <a:pt x="4217004" y="2042834"/>
                          <a:pt x="4217004" y="2049413"/>
                        </a:cubicBezTo>
                        <a:cubicBezTo>
                          <a:pt x="4223516" y="2062553"/>
                          <a:pt x="4204024" y="2056011"/>
                          <a:pt x="4203966" y="2055992"/>
                        </a:cubicBezTo>
                        <a:cubicBezTo>
                          <a:pt x="4190928" y="2055992"/>
                          <a:pt x="4190928" y="2069150"/>
                          <a:pt x="4197447" y="2075729"/>
                        </a:cubicBezTo>
                        <a:cubicBezTo>
                          <a:pt x="4197447" y="2088888"/>
                          <a:pt x="4210486" y="2095467"/>
                          <a:pt x="4223523" y="2095467"/>
                        </a:cubicBezTo>
                        <a:cubicBezTo>
                          <a:pt x="4236562" y="2095467"/>
                          <a:pt x="4236562" y="2088888"/>
                          <a:pt x="4236562" y="2082308"/>
                        </a:cubicBezTo>
                        <a:cubicBezTo>
                          <a:pt x="4236562" y="2062571"/>
                          <a:pt x="4243080" y="2062571"/>
                          <a:pt x="4256119" y="2062571"/>
                        </a:cubicBezTo>
                        <a:cubicBezTo>
                          <a:pt x="4262638" y="2062571"/>
                          <a:pt x="4269157" y="2049413"/>
                          <a:pt x="4262638" y="2036255"/>
                        </a:cubicBezTo>
                        <a:cubicBezTo>
                          <a:pt x="4262638" y="2029676"/>
                          <a:pt x="4256119" y="2023097"/>
                          <a:pt x="4249599" y="2016518"/>
                        </a:cubicBezTo>
                        <a:cubicBezTo>
                          <a:pt x="4243080" y="2009939"/>
                          <a:pt x="4236562" y="2003360"/>
                          <a:pt x="4236562" y="1990201"/>
                        </a:cubicBezTo>
                        <a:cubicBezTo>
                          <a:pt x="4243080" y="1983623"/>
                          <a:pt x="4256119" y="1983623"/>
                          <a:pt x="4262638" y="1983623"/>
                        </a:cubicBezTo>
                        <a:cubicBezTo>
                          <a:pt x="4269157" y="1977044"/>
                          <a:pt x="4269157" y="1977044"/>
                          <a:pt x="4275675" y="1977044"/>
                        </a:cubicBezTo>
                        <a:cubicBezTo>
                          <a:pt x="4275675" y="1970465"/>
                          <a:pt x="4275675" y="1963886"/>
                          <a:pt x="4275675" y="1957307"/>
                        </a:cubicBezTo>
                        <a:cubicBezTo>
                          <a:pt x="4282195" y="1950728"/>
                          <a:pt x="4288714" y="1950728"/>
                          <a:pt x="4295233" y="1950728"/>
                        </a:cubicBezTo>
                        <a:cubicBezTo>
                          <a:pt x="4301753" y="1950728"/>
                          <a:pt x="4301753" y="1950728"/>
                          <a:pt x="4308271" y="1950728"/>
                        </a:cubicBezTo>
                        <a:cubicBezTo>
                          <a:pt x="4321310" y="1957307"/>
                          <a:pt x="4321310" y="1957307"/>
                          <a:pt x="4327829" y="1970465"/>
                        </a:cubicBezTo>
                        <a:cubicBezTo>
                          <a:pt x="4334348" y="1983623"/>
                          <a:pt x="4340866" y="1996780"/>
                          <a:pt x="4340866" y="2009939"/>
                        </a:cubicBezTo>
                        <a:cubicBezTo>
                          <a:pt x="4340866" y="2036255"/>
                          <a:pt x="4334348" y="2055992"/>
                          <a:pt x="4353905" y="2082308"/>
                        </a:cubicBezTo>
                        <a:cubicBezTo>
                          <a:pt x="4360424" y="2088888"/>
                          <a:pt x="4373462" y="2088888"/>
                          <a:pt x="4379981" y="2095467"/>
                        </a:cubicBezTo>
                        <a:cubicBezTo>
                          <a:pt x="4386500" y="2102046"/>
                          <a:pt x="4393020" y="2121783"/>
                          <a:pt x="4406057" y="2128361"/>
                        </a:cubicBezTo>
                        <a:cubicBezTo>
                          <a:pt x="4425615" y="2141519"/>
                          <a:pt x="4432135" y="2115204"/>
                          <a:pt x="4451691" y="2115204"/>
                        </a:cubicBezTo>
                        <a:cubicBezTo>
                          <a:pt x="4471248" y="2102046"/>
                          <a:pt x="4477768" y="2121783"/>
                          <a:pt x="4490806" y="2128361"/>
                        </a:cubicBezTo>
                        <a:cubicBezTo>
                          <a:pt x="4510363" y="2134940"/>
                          <a:pt x="4542959" y="2128361"/>
                          <a:pt x="4549478" y="2121783"/>
                        </a:cubicBezTo>
                        <a:cubicBezTo>
                          <a:pt x="4555997" y="2115204"/>
                          <a:pt x="4569036" y="2088888"/>
                          <a:pt x="4582073" y="2108625"/>
                        </a:cubicBezTo>
                        <a:cubicBezTo>
                          <a:pt x="4608149" y="2134940"/>
                          <a:pt x="4549478" y="2187573"/>
                          <a:pt x="4555997" y="2220468"/>
                        </a:cubicBezTo>
                        <a:cubicBezTo>
                          <a:pt x="4555997" y="2233627"/>
                          <a:pt x="4569036" y="2253365"/>
                          <a:pt x="4549478" y="2266523"/>
                        </a:cubicBezTo>
                        <a:cubicBezTo>
                          <a:pt x="4529921" y="2273102"/>
                          <a:pt x="4503845" y="2266523"/>
                          <a:pt x="4484287" y="2273102"/>
                        </a:cubicBezTo>
                        <a:cubicBezTo>
                          <a:pt x="4471248" y="2273102"/>
                          <a:pt x="4458211" y="2279681"/>
                          <a:pt x="4445172" y="2286259"/>
                        </a:cubicBezTo>
                        <a:cubicBezTo>
                          <a:pt x="4425615" y="2299417"/>
                          <a:pt x="4412577" y="2292838"/>
                          <a:pt x="4393020" y="2286259"/>
                        </a:cubicBezTo>
                        <a:cubicBezTo>
                          <a:pt x="4386500" y="2279681"/>
                          <a:pt x="4379981" y="2279681"/>
                          <a:pt x="4373462" y="2279681"/>
                        </a:cubicBezTo>
                        <a:cubicBezTo>
                          <a:pt x="4366944" y="2279681"/>
                          <a:pt x="4366944" y="2286259"/>
                          <a:pt x="4360424" y="2286259"/>
                        </a:cubicBezTo>
                        <a:cubicBezTo>
                          <a:pt x="4353905" y="2292838"/>
                          <a:pt x="4353905" y="2286259"/>
                          <a:pt x="4340866" y="2286259"/>
                        </a:cubicBezTo>
                        <a:cubicBezTo>
                          <a:pt x="4314790" y="2286259"/>
                          <a:pt x="4288714" y="2292838"/>
                          <a:pt x="4262638" y="2273102"/>
                        </a:cubicBezTo>
                        <a:cubicBezTo>
                          <a:pt x="4243080" y="2253365"/>
                          <a:pt x="4223523" y="2233627"/>
                          <a:pt x="4197447" y="2233627"/>
                        </a:cubicBezTo>
                        <a:cubicBezTo>
                          <a:pt x="4177889" y="2240206"/>
                          <a:pt x="4158332" y="2246785"/>
                          <a:pt x="4151813" y="2273102"/>
                        </a:cubicBezTo>
                        <a:cubicBezTo>
                          <a:pt x="4151813" y="2286259"/>
                          <a:pt x="4158332" y="2305996"/>
                          <a:pt x="4138775" y="2312575"/>
                        </a:cubicBezTo>
                        <a:cubicBezTo>
                          <a:pt x="4119217" y="2325733"/>
                          <a:pt x="4060546" y="2305996"/>
                          <a:pt x="4047507" y="2286259"/>
                        </a:cubicBezTo>
                        <a:cubicBezTo>
                          <a:pt x="4027950" y="2266523"/>
                          <a:pt x="4008392" y="2253365"/>
                          <a:pt x="3975798" y="2246785"/>
                        </a:cubicBezTo>
                        <a:cubicBezTo>
                          <a:pt x="3949721" y="2240206"/>
                          <a:pt x="3917125" y="2227047"/>
                          <a:pt x="3904088" y="2200731"/>
                        </a:cubicBezTo>
                        <a:cubicBezTo>
                          <a:pt x="3891049" y="2167835"/>
                          <a:pt x="3936683" y="2108625"/>
                          <a:pt x="3897568" y="2082308"/>
                        </a:cubicBezTo>
                        <a:cubicBezTo>
                          <a:pt x="3871492" y="2075729"/>
                          <a:pt x="3838897" y="2075729"/>
                          <a:pt x="3819339" y="2088888"/>
                        </a:cubicBezTo>
                        <a:cubicBezTo>
                          <a:pt x="3791156" y="2094577"/>
                          <a:pt x="3762972" y="2100265"/>
                          <a:pt x="3734942" y="2095918"/>
                        </a:cubicBezTo>
                        <a:lnTo>
                          <a:pt x="3629942" y="2039026"/>
                        </a:lnTo>
                        <a:cubicBezTo>
                          <a:pt x="3634400" y="2034399"/>
                          <a:pt x="3636805" y="2028748"/>
                          <a:pt x="3636805" y="2023097"/>
                        </a:cubicBezTo>
                        <a:cubicBezTo>
                          <a:pt x="3643324" y="2009939"/>
                          <a:pt x="3636805" y="1996780"/>
                          <a:pt x="3643324" y="1977044"/>
                        </a:cubicBezTo>
                        <a:cubicBezTo>
                          <a:pt x="3656361" y="1963886"/>
                          <a:pt x="3662881" y="1937570"/>
                          <a:pt x="3682439" y="1930991"/>
                        </a:cubicBezTo>
                        <a:cubicBezTo>
                          <a:pt x="3688957" y="1924412"/>
                          <a:pt x="3715033" y="1917832"/>
                          <a:pt x="3721552" y="1911253"/>
                        </a:cubicBezTo>
                        <a:cubicBezTo>
                          <a:pt x="3728072" y="1891516"/>
                          <a:pt x="3715033" y="1871779"/>
                          <a:pt x="3728072" y="1858621"/>
                        </a:cubicBezTo>
                        <a:cubicBezTo>
                          <a:pt x="3734591" y="1852042"/>
                          <a:pt x="3747630" y="1852042"/>
                          <a:pt x="3760667" y="1852042"/>
                        </a:cubicBezTo>
                        <a:cubicBezTo>
                          <a:pt x="3767186" y="1852042"/>
                          <a:pt x="3780225" y="1858621"/>
                          <a:pt x="3793263" y="1858621"/>
                        </a:cubicBezTo>
                        <a:cubicBezTo>
                          <a:pt x="3799782" y="1865200"/>
                          <a:pt x="3806301" y="1858621"/>
                          <a:pt x="3819339" y="1852042"/>
                        </a:cubicBezTo>
                        <a:cubicBezTo>
                          <a:pt x="3825858" y="1845464"/>
                          <a:pt x="3838897" y="1832305"/>
                          <a:pt x="3845416" y="1825726"/>
                        </a:cubicBezTo>
                        <a:cubicBezTo>
                          <a:pt x="3851934" y="1819147"/>
                          <a:pt x="3858454" y="1819147"/>
                          <a:pt x="3871492" y="1819147"/>
                        </a:cubicBezTo>
                        <a:cubicBezTo>
                          <a:pt x="3891049" y="1819147"/>
                          <a:pt x="3904088" y="1838885"/>
                          <a:pt x="3910607" y="1852042"/>
                        </a:cubicBezTo>
                        <a:cubicBezTo>
                          <a:pt x="3910607" y="1865200"/>
                          <a:pt x="3917125" y="1871779"/>
                          <a:pt x="3923645" y="1884937"/>
                        </a:cubicBezTo>
                        <a:cubicBezTo>
                          <a:pt x="3923645" y="1891516"/>
                          <a:pt x="3930164" y="1898095"/>
                          <a:pt x="3936683" y="1904674"/>
                        </a:cubicBezTo>
                        <a:cubicBezTo>
                          <a:pt x="3949721" y="1917832"/>
                          <a:pt x="3969279" y="1930991"/>
                          <a:pt x="3982316" y="1937570"/>
                        </a:cubicBezTo>
                        <a:cubicBezTo>
                          <a:pt x="4008392" y="1944149"/>
                          <a:pt x="4021431" y="1950728"/>
                          <a:pt x="4034470" y="1977044"/>
                        </a:cubicBezTo>
                        <a:cubicBezTo>
                          <a:pt x="4040989" y="1990201"/>
                          <a:pt x="4047507" y="2003360"/>
                          <a:pt x="4047507" y="2023097"/>
                        </a:cubicBezTo>
                        <a:cubicBezTo>
                          <a:pt x="4047481" y="2023126"/>
                          <a:pt x="4040989" y="2029691"/>
                          <a:pt x="4040989" y="2036255"/>
                        </a:cubicBezTo>
                        <a:cubicBezTo>
                          <a:pt x="4040989" y="2042799"/>
                          <a:pt x="4040989" y="2049341"/>
                          <a:pt x="4040989" y="2049413"/>
                        </a:cubicBezTo>
                        <a:cubicBezTo>
                          <a:pt x="4034470" y="2055992"/>
                          <a:pt x="4027950" y="2055992"/>
                          <a:pt x="4021431" y="2055992"/>
                        </a:cubicBezTo>
                        <a:cubicBezTo>
                          <a:pt x="4008392" y="2055992"/>
                          <a:pt x="4001874" y="2049413"/>
                          <a:pt x="3988835" y="2049413"/>
                        </a:cubicBezTo>
                        <a:cubicBezTo>
                          <a:pt x="3969279" y="2055992"/>
                          <a:pt x="3969279" y="2069150"/>
                          <a:pt x="3982316" y="2082308"/>
                        </a:cubicBezTo>
                        <a:cubicBezTo>
                          <a:pt x="3988835" y="2088888"/>
                          <a:pt x="3995355" y="2088888"/>
                          <a:pt x="4001874" y="2088888"/>
                        </a:cubicBezTo>
                        <a:cubicBezTo>
                          <a:pt x="4008392" y="2095467"/>
                          <a:pt x="4014912" y="2095467"/>
                          <a:pt x="4021431" y="2088888"/>
                        </a:cubicBezTo>
                        <a:cubicBezTo>
                          <a:pt x="4027950" y="2082308"/>
                          <a:pt x="4027950" y="2075729"/>
                          <a:pt x="4034470" y="2069150"/>
                        </a:cubicBezTo>
                        <a:cubicBezTo>
                          <a:pt x="4040989" y="2062571"/>
                          <a:pt x="4047507" y="2062571"/>
                          <a:pt x="4054026" y="2055992"/>
                        </a:cubicBezTo>
                        <a:cubicBezTo>
                          <a:pt x="4054026" y="2055966"/>
                          <a:pt x="4054026" y="2049444"/>
                          <a:pt x="4054026" y="2049413"/>
                        </a:cubicBezTo>
                        <a:cubicBezTo>
                          <a:pt x="4060546" y="2042834"/>
                          <a:pt x="4060546" y="2042834"/>
                          <a:pt x="4067065" y="2036255"/>
                        </a:cubicBezTo>
                        <a:cubicBezTo>
                          <a:pt x="4067124" y="2036200"/>
                          <a:pt x="4073584" y="2029656"/>
                          <a:pt x="4073584" y="2023097"/>
                        </a:cubicBezTo>
                        <a:cubicBezTo>
                          <a:pt x="4080103" y="2009939"/>
                          <a:pt x="4080103" y="2009939"/>
                          <a:pt x="4073584" y="1996780"/>
                        </a:cubicBezTo>
                        <a:cubicBezTo>
                          <a:pt x="4067065" y="1990201"/>
                          <a:pt x="4067065" y="1977044"/>
                          <a:pt x="4073584" y="1970465"/>
                        </a:cubicBezTo>
                        <a:cubicBezTo>
                          <a:pt x="4080103" y="1957307"/>
                          <a:pt x="4099661" y="1983623"/>
                          <a:pt x="4106180" y="1977044"/>
                        </a:cubicBezTo>
                        <a:cubicBezTo>
                          <a:pt x="4119217" y="1970465"/>
                          <a:pt x="4093141" y="1950728"/>
                          <a:pt x="4086622" y="1944149"/>
                        </a:cubicBezTo>
                        <a:cubicBezTo>
                          <a:pt x="4080103" y="1944149"/>
                          <a:pt x="4073584" y="1944149"/>
                          <a:pt x="4060546" y="1937570"/>
                        </a:cubicBezTo>
                        <a:cubicBezTo>
                          <a:pt x="4054026" y="1930991"/>
                          <a:pt x="4054026" y="1924412"/>
                          <a:pt x="4047507" y="1917832"/>
                        </a:cubicBezTo>
                        <a:cubicBezTo>
                          <a:pt x="4027950" y="1904674"/>
                          <a:pt x="4008392" y="1898095"/>
                          <a:pt x="3995355" y="1884937"/>
                        </a:cubicBezTo>
                        <a:cubicBezTo>
                          <a:pt x="3988835" y="1871779"/>
                          <a:pt x="3982316" y="1865200"/>
                          <a:pt x="3975798" y="1852042"/>
                        </a:cubicBezTo>
                        <a:cubicBezTo>
                          <a:pt x="3969279" y="1838885"/>
                          <a:pt x="3962759" y="1832305"/>
                          <a:pt x="3956240" y="1825726"/>
                        </a:cubicBezTo>
                        <a:cubicBezTo>
                          <a:pt x="3949721" y="1805989"/>
                          <a:pt x="3949721" y="1786252"/>
                          <a:pt x="3969279" y="1786252"/>
                        </a:cubicBezTo>
                        <a:close/>
                        <a:moveTo>
                          <a:pt x="410146" y="1579357"/>
                        </a:moveTo>
                        <a:cubicBezTo>
                          <a:pt x="424264" y="1582970"/>
                          <a:pt x="437263" y="1590915"/>
                          <a:pt x="443292" y="1603081"/>
                        </a:cubicBezTo>
                        <a:cubicBezTo>
                          <a:pt x="449809" y="1616233"/>
                          <a:pt x="443292" y="1642537"/>
                          <a:pt x="430259" y="1649113"/>
                        </a:cubicBezTo>
                        <a:cubicBezTo>
                          <a:pt x="417224" y="1655688"/>
                          <a:pt x="397673" y="1649113"/>
                          <a:pt x="384639" y="1649113"/>
                        </a:cubicBezTo>
                        <a:cubicBezTo>
                          <a:pt x="365088" y="1655688"/>
                          <a:pt x="365088" y="1681992"/>
                          <a:pt x="365088" y="1695144"/>
                        </a:cubicBezTo>
                        <a:cubicBezTo>
                          <a:pt x="365088" y="1721448"/>
                          <a:pt x="384639" y="1741175"/>
                          <a:pt x="404190" y="1754327"/>
                        </a:cubicBezTo>
                        <a:cubicBezTo>
                          <a:pt x="417224" y="1767479"/>
                          <a:pt x="423741" y="1787207"/>
                          <a:pt x="423741" y="1800359"/>
                        </a:cubicBezTo>
                        <a:cubicBezTo>
                          <a:pt x="430258" y="1839814"/>
                          <a:pt x="423741" y="1879269"/>
                          <a:pt x="417224" y="1918724"/>
                        </a:cubicBezTo>
                        <a:cubicBezTo>
                          <a:pt x="417224" y="1938451"/>
                          <a:pt x="417224" y="1958179"/>
                          <a:pt x="417224" y="1977906"/>
                        </a:cubicBezTo>
                        <a:cubicBezTo>
                          <a:pt x="430258" y="2004210"/>
                          <a:pt x="443292" y="2030514"/>
                          <a:pt x="449810" y="2063394"/>
                        </a:cubicBezTo>
                        <a:cubicBezTo>
                          <a:pt x="456326" y="2076545"/>
                          <a:pt x="462843" y="2089697"/>
                          <a:pt x="469360" y="2109425"/>
                        </a:cubicBezTo>
                        <a:cubicBezTo>
                          <a:pt x="475877" y="2122577"/>
                          <a:pt x="482394" y="2142305"/>
                          <a:pt x="488911" y="2155456"/>
                        </a:cubicBezTo>
                        <a:cubicBezTo>
                          <a:pt x="501945" y="2175183"/>
                          <a:pt x="521496" y="2201487"/>
                          <a:pt x="541047" y="2214639"/>
                        </a:cubicBezTo>
                        <a:cubicBezTo>
                          <a:pt x="560598" y="2234367"/>
                          <a:pt x="586666" y="2240943"/>
                          <a:pt x="606217" y="2267247"/>
                        </a:cubicBezTo>
                        <a:cubicBezTo>
                          <a:pt x="612734" y="2280398"/>
                          <a:pt x="619251" y="2300127"/>
                          <a:pt x="625768" y="2313278"/>
                        </a:cubicBezTo>
                        <a:cubicBezTo>
                          <a:pt x="638802" y="2333006"/>
                          <a:pt x="651836" y="2346158"/>
                          <a:pt x="658353" y="2365885"/>
                        </a:cubicBezTo>
                        <a:cubicBezTo>
                          <a:pt x="671387" y="2379037"/>
                          <a:pt x="658353" y="2392188"/>
                          <a:pt x="658353" y="2405339"/>
                        </a:cubicBezTo>
                        <a:cubicBezTo>
                          <a:pt x="651836" y="2425067"/>
                          <a:pt x="677904" y="2438219"/>
                          <a:pt x="684421" y="2444795"/>
                        </a:cubicBezTo>
                        <a:cubicBezTo>
                          <a:pt x="697455" y="2457947"/>
                          <a:pt x="710489" y="2471099"/>
                          <a:pt x="717006" y="2484250"/>
                        </a:cubicBezTo>
                        <a:cubicBezTo>
                          <a:pt x="730040" y="2497403"/>
                          <a:pt x="736557" y="2517130"/>
                          <a:pt x="743074" y="2536858"/>
                        </a:cubicBezTo>
                        <a:cubicBezTo>
                          <a:pt x="743074" y="2543434"/>
                          <a:pt x="749591" y="2556585"/>
                          <a:pt x="762625" y="2556585"/>
                        </a:cubicBezTo>
                        <a:cubicBezTo>
                          <a:pt x="775658" y="2556585"/>
                          <a:pt x="775658" y="2543434"/>
                          <a:pt x="775658" y="2536858"/>
                        </a:cubicBezTo>
                        <a:cubicBezTo>
                          <a:pt x="775658" y="2530282"/>
                          <a:pt x="769142" y="2517130"/>
                          <a:pt x="762625" y="2510554"/>
                        </a:cubicBezTo>
                        <a:cubicBezTo>
                          <a:pt x="756108" y="2503978"/>
                          <a:pt x="749591" y="2490827"/>
                          <a:pt x="743074" y="2477674"/>
                        </a:cubicBezTo>
                        <a:cubicBezTo>
                          <a:pt x="736557" y="2471099"/>
                          <a:pt x="730040" y="2464523"/>
                          <a:pt x="723523" y="2451371"/>
                        </a:cubicBezTo>
                        <a:cubicBezTo>
                          <a:pt x="710489" y="2438219"/>
                          <a:pt x="703972" y="2425067"/>
                          <a:pt x="697455" y="2405339"/>
                        </a:cubicBezTo>
                        <a:cubicBezTo>
                          <a:pt x="690938" y="2385613"/>
                          <a:pt x="677904" y="2372462"/>
                          <a:pt x="677904" y="2352733"/>
                        </a:cubicBezTo>
                        <a:cubicBezTo>
                          <a:pt x="671387" y="2339582"/>
                          <a:pt x="671387" y="2326429"/>
                          <a:pt x="671387" y="2306702"/>
                        </a:cubicBezTo>
                        <a:cubicBezTo>
                          <a:pt x="671387" y="2286974"/>
                          <a:pt x="690938" y="2280398"/>
                          <a:pt x="710489" y="2293551"/>
                        </a:cubicBezTo>
                        <a:cubicBezTo>
                          <a:pt x="723523" y="2306702"/>
                          <a:pt x="730040" y="2326429"/>
                          <a:pt x="736557" y="2339582"/>
                        </a:cubicBezTo>
                        <a:cubicBezTo>
                          <a:pt x="749591" y="2352733"/>
                          <a:pt x="762625" y="2372462"/>
                          <a:pt x="775658" y="2392188"/>
                        </a:cubicBezTo>
                        <a:cubicBezTo>
                          <a:pt x="801727" y="2438219"/>
                          <a:pt x="821278" y="2484250"/>
                          <a:pt x="847346" y="2530282"/>
                        </a:cubicBezTo>
                        <a:cubicBezTo>
                          <a:pt x="853862" y="2536858"/>
                          <a:pt x="866897" y="2550009"/>
                          <a:pt x="873414" y="2556585"/>
                        </a:cubicBezTo>
                        <a:cubicBezTo>
                          <a:pt x="879931" y="2569738"/>
                          <a:pt x="879931" y="2569738"/>
                          <a:pt x="886448" y="2582889"/>
                        </a:cubicBezTo>
                        <a:cubicBezTo>
                          <a:pt x="892964" y="2596041"/>
                          <a:pt x="899482" y="2602616"/>
                          <a:pt x="899482" y="2615769"/>
                        </a:cubicBezTo>
                        <a:cubicBezTo>
                          <a:pt x="905999" y="2635496"/>
                          <a:pt x="899482" y="2655224"/>
                          <a:pt x="899482" y="2674951"/>
                        </a:cubicBezTo>
                        <a:cubicBezTo>
                          <a:pt x="905999" y="2688104"/>
                          <a:pt x="912515" y="2714407"/>
                          <a:pt x="925550" y="2727559"/>
                        </a:cubicBezTo>
                        <a:cubicBezTo>
                          <a:pt x="938584" y="2740711"/>
                          <a:pt x="951617" y="2740711"/>
                          <a:pt x="971168" y="2747287"/>
                        </a:cubicBezTo>
                        <a:cubicBezTo>
                          <a:pt x="977686" y="2753862"/>
                          <a:pt x="984202" y="2767015"/>
                          <a:pt x="997237" y="2767015"/>
                        </a:cubicBezTo>
                        <a:cubicBezTo>
                          <a:pt x="1003753" y="2773591"/>
                          <a:pt x="1016788" y="2767015"/>
                          <a:pt x="1023304" y="2773591"/>
                        </a:cubicBezTo>
                        <a:cubicBezTo>
                          <a:pt x="1029822" y="2780166"/>
                          <a:pt x="1029822" y="2786742"/>
                          <a:pt x="1036339" y="2786742"/>
                        </a:cubicBezTo>
                        <a:cubicBezTo>
                          <a:pt x="1049373" y="2799893"/>
                          <a:pt x="1055890" y="2813046"/>
                          <a:pt x="1075441" y="2819622"/>
                        </a:cubicBezTo>
                        <a:cubicBezTo>
                          <a:pt x="1094992" y="2826197"/>
                          <a:pt x="1127577" y="2826197"/>
                          <a:pt x="1147128" y="2819622"/>
                        </a:cubicBezTo>
                        <a:cubicBezTo>
                          <a:pt x="1166679" y="2813046"/>
                          <a:pt x="1186230" y="2806470"/>
                          <a:pt x="1205781" y="2813046"/>
                        </a:cubicBezTo>
                        <a:cubicBezTo>
                          <a:pt x="1218814" y="2819622"/>
                          <a:pt x="1225332" y="2832773"/>
                          <a:pt x="1238365" y="2839349"/>
                        </a:cubicBezTo>
                        <a:cubicBezTo>
                          <a:pt x="1257916" y="2852501"/>
                          <a:pt x="1264434" y="2878803"/>
                          <a:pt x="1283985" y="2885380"/>
                        </a:cubicBezTo>
                        <a:cubicBezTo>
                          <a:pt x="1290501" y="2891956"/>
                          <a:pt x="1297018" y="2891956"/>
                          <a:pt x="1303536" y="2891956"/>
                        </a:cubicBezTo>
                        <a:cubicBezTo>
                          <a:pt x="1329603" y="2898531"/>
                          <a:pt x="1342637" y="2905107"/>
                          <a:pt x="1355672" y="2918259"/>
                        </a:cubicBezTo>
                        <a:cubicBezTo>
                          <a:pt x="1381739" y="2937987"/>
                          <a:pt x="1375223" y="2977442"/>
                          <a:pt x="1388256" y="2997170"/>
                        </a:cubicBezTo>
                        <a:cubicBezTo>
                          <a:pt x="1401290" y="3010322"/>
                          <a:pt x="1414325" y="3010322"/>
                          <a:pt x="1427358" y="3016898"/>
                        </a:cubicBezTo>
                        <a:cubicBezTo>
                          <a:pt x="1440392" y="3023473"/>
                          <a:pt x="1440392" y="3043202"/>
                          <a:pt x="1459943" y="3049777"/>
                        </a:cubicBezTo>
                        <a:cubicBezTo>
                          <a:pt x="1466770" y="3056665"/>
                          <a:pt x="1478960" y="3058142"/>
                          <a:pt x="1491811" y="3056810"/>
                        </a:cubicBezTo>
                        <a:cubicBezTo>
                          <a:pt x="1426327" y="3270386"/>
                          <a:pt x="1381963" y="3510108"/>
                          <a:pt x="1357836" y="3753401"/>
                        </a:cubicBezTo>
                        <a:cubicBezTo>
                          <a:pt x="1117675" y="3775787"/>
                          <a:pt x="878695" y="3783528"/>
                          <a:pt x="637311" y="3793448"/>
                        </a:cubicBezTo>
                        <a:cubicBezTo>
                          <a:pt x="618234" y="3714625"/>
                          <a:pt x="547078" y="3656345"/>
                          <a:pt x="462310" y="3656345"/>
                        </a:cubicBezTo>
                        <a:cubicBezTo>
                          <a:pt x="419997" y="3656345"/>
                          <a:pt x="381076" y="3670866"/>
                          <a:pt x="351902" y="3696785"/>
                        </a:cubicBezTo>
                        <a:cubicBezTo>
                          <a:pt x="218267" y="3387537"/>
                          <a:pt x="145086" y="3045999"/>
                          <a:pt x="145086" y="2687211"/>
                        </a:cubicBezTo>
                        <a:cubicBezTo>
                          <a:pt x="145086" y="2290103"/>
                          <a:pt x="234735" y="1914126"/>
                          <a:pt x="397422" y="1580084"/>
                        </a:cubicBezTo>
                        <a:cubicBezTo>
                          <a:pt x="401797" y="1577616"/>
                          <a:pt x="406020" y="1578301"/>
                          <a:pt x="410146" y="1579357"/>
                        </a:cubicBezTo>
                        <a:close/>
                        <a:moveTo>
                          <a:pt x="2361829" y="1500921"/>
                        </a:moveTo>
                        <a:cubicBezTo>
                          <a:pt x="2617943" y="1597474"/>
                          <a:pt x="2874306" y="1707071"/>
                          <a:pt x="3120312" y="1825613"/>
                        </a:cubicBezTo>
                        <a:cubicBezTo>
                          <a:pt x="3225381" y="1963374"/>
                          <a:pt x="3319732" y="2097659"/>
                          <a:pt x="3407681" y="2222306"/>
                        </a:cubicBezTo>
                        <a:cubicBezTo>
                          <a:pt x="3382328" y="2248433"/>
                          <a:pt x="3376041" y="2293428"/>
                          <a:pt x="3376041" y="2325733"/>
                        </a:cubicBezTo>
                        <a:cubicBezTo>
                          <a:pt x="3376041" y="2358629"/>
                          <a:pt x="3363002" y="2384945"/>
                          <a:pt x="3343445" y="2404682"/>
                        </a:cubicBezTo>
                        <a:cubicBezTo>
                          <a:pt x="3310850" y="2430998"/>
                          <a:pt x="3284774" y="2437577"/>
                          <a:pt x="3271735" y="2470472"/>
                        </a:cubicBezTo>
                        <a:cubicBezTo>
                          <a:pt x="3258696" y="2496788"/>
                          <a:pt x="3258696" y="2516526"/>
                          <a:pt x="3232620" y="2536263"/>
                        </a:cubicBezTo>
                        <a:cubicBezTo>
                          <a:pt x="3219583" y="2549421"/>
                          <a:pt x="3213063" y="2556000"/>
                          <a:pt x="3206544" y="2569157"/>
                        </a:cubicBezTo>
                        <a:cubicBezTo>
                          <a:pt x="3206544" y="2602053"/>
                          <a:pt x="3186987" y="2621790"/>
                          <a:pt x="3200025" y="2648106"/>
                        </a:cubicBezTo>
                        <a:cubicBezTo>
                          <a:pt x="3213063" y="2661264"/>
                          <a:pt x="3206544" y="2681002"/>
                          <a:pt x="3213063" y="2694160"/>
                        </a:cubicBezTo>
                        <a:cubicBezTo>
                          <a:pt x="3213063" y="2707318"/>
                          <a:pt x="3219583" y="2720475"/>
                          <a:pt x="3219583" y="2740212"/>
                        </a:cubicBezTo>
                        <a:cubicBezTo>
                          <a:pt x="3219583" y="2759951"/>
                          <a:pt x="3206544" y="2773109"/>
                          <a:pt x="3200025" y="2792846"/>
                        </a:cubicBezTo>
                        <a:cubicBezTo>
                          <a:pt x="3193505" y="2812583"/>
                          <a:pt x="3186987" y="2852058"/>
                          <a:pt x="3193505" y="2871794"/>
                        </a:cubicBezTo>
                        <a:cubicBezTo>
                          <a:pt x="3193505" y="2911268"/>
                          <a:pt x="3232620" y="2931006"/>
                          <a:pt x="3245659" y="2957322"/>
                        </a:cubicBezTo>
                        <a:cubicBezTo>
                          <a:pt x="3278254" y="3003375"/>
                          <a:pt x="3291292" y="3095482"/>
                          <a:pt x="3343445" y="3128377"/>
                        </a:cubicBezTo>
                        <a:cubicBezTo>
                          <a:pt x="3382560" y="3148114"/>
                          <a:pt x="3434712" y="3181009"/>
                          <a:pt x="3480346" y="3161271"/>
                        </a:cubicBezTo>
                        <a:cubicBezTo>
                          <a:pt x="3506423" y="3154693"/>
                          <a:pt x="3525979" y="3148114"/>
                          <a:pt x="3558575" y="3148114"/>
                        </a:cubicBezTo>
                        <a:cubicBezTo>
                          <a:pt x="3565094" y="3141535"/>
                          <a:pt x="3578133" y="3141535"/>
                          <a:pt x="3584651" y="3141535"/>
                        </a:cubicBezTo>
                        <a:cubicBezTo>
                          <a:pt x="3591170" y="3141535"/>
                          <a:pt x="3604209" y="3148114"/>
                          <a:pt x="3610728" y="3154693"/>
                        </a:cubicBezTo>
                        <a:cubicBezTo>
                          <a:pt x="3643324" y="3161271"/>
                          <a:pt x="3669400" y="3141535"/>
                          <a:pt x="3695476" y="3134956"/>
                        </a:cubicBezTo>
                        <a:cubicBezTo>
                          <a:pt x="3708515" y="3128377"/>
                          <a:pt x="3728072" y="3128377"/>
                          <a:pt x="3734591" y="3128377"/>
                        </a:cubicBezTo>
                        <a:cubicBezTo>
                          <a:pt x="3754148" y="3128377"/>
                          <a:pt x="3754148" y="3134956"/>
                          <a:pt x="3767186" y="3141535"/>
                        </a:cubicBezTo>
                        <a:cubicBezTo>
                          <a:pt x="3786743" y="3154693"/>
                          <a:pt x="3799782" y="3167850"/>
                          <a:pt x="3819339" y="3174430"/>
                        </a:cubicBezTo>
                        <a:cubicBezTo>
                          <a:pt x="3855486" y="3186590"/>
                          <a:pt x="3870755" y="3211392"/>
                          <a:pt x="3873949" y="3241281"/>
                        </a:cubicBezTo>
                        <a:cubicBezTo>
                          <a:pt x="3461883" y="3377852"/>
                          <a:pt x="3090069" y="3470887"/>
                          <a:pt x="2724694" y="3553798"/>
                        </a:cubicBezTo>
                        <a:lnTo>
                          <a:pt x="2717723" y="3536393"/>
                        </a:lnTo>
                        <a:cubicBezTo>
                          <a:pt x="2711206" y="3523242"/>
                          <a:pt x="2698172" y="3516666"/>
                          <a:pt x="2691655" y="3510090"/>
                        </a:cubicBezTo>
                        <a:cubicBezTo>
                          <a:pt x="2672104" y="3496938"/>
                          <a:pt x="2652553" y="3477210"/>
                          <a:pt x="2633002" y="3464058"/>
                        </a:cubicBezTo>
                        <a:cubicBezTo>
                          <a:pt x="2613451" y="3450906"/>
                          <a:pt x="2593900" y="3444331"/>
                          <a:pt x="2574349" y="3437755"/>
                        </a:cubicBezTo>
                        <a:cubicBezTo>
                          <a:pt x="2561315" y="3437755"/>
                          <a:pt x="2541764" y="3437755"/>
                          <a:pt x="2528730" y="3437755"/>
                        </a:cubicBezTo>
                        <a:cubicBezTo>
                          <a:pt x="2509179" y="3431179"/>
                          <a:pt x="2489628" y="3424602"/>
                          <a:pt x="2476594" y="3404875"/>
                        </a:cubicBezTo>
                        <a:cubicBezTo>
                          <a:pt x="2470077" y="3391724"/>
                          <a:pt x="2463560" y="3391724"/>
                          <a:pt x="2450526" y="3385147"/>
                        </a:cubicBezTo>
                        <a:cubicBezTo>
                          <a:pt x="2437493" y="3378571"/>
                          <a:pt x="2430975" y="3365420"/>
                          <a:pt x="2417942" y="3365420"/>
                        </a:cubicBezTo>
                        <a:cubicBezTo>
                          <a:pt x="2404907" y="3365420"/>
                          <a:pt x="2398391" y="3365420"/>
                          <a:pt x="2385356" y="3365420"/>
                        </a:cubicBezTo>
                        <a:cubicBezTo>
                          <a:pt x="2372322" y="3358844"/>
                          <a:pt x="2365805" y="3345693"/>
                          <a:pt x="2352771" y="3339117"/>
                        </a:cubicBezTo>
                        <a:cubicBezTo>
                          <a:pt x="2333220" y="3325965"/>
                          <a:pt x="2320187" y="3306237"/>
                          <a:pt x="2313669" y="3286510"/>
                        </a:cubicBezTo>
                        <a:cubicBezTo>
                          <a:pt x="2307152" y="3273359"/>
                          <a:pt x="2300636" y="3253630"/>
                          <a:pt x="2294118" y="3240479"/>
                        </a:cubicBezTo>
                        <a:cubicBezTo>
                          <a:pt x="2287601" y="3214175"/>
                          <a:pt x="2274567" y="3168144"/>
                          <a:pt x="2241983" y="3161568"/>
                        </a:cubicBezTo>
                        <a:cubicBezTo>
                          <a:pt x="2228949" y="3154992"/>
                          <a:pt x="2215914" y="3141840"/>
                          <a:pt x="2202881" y="3135264"/>
                        </a:cubicBezTo>
                        <a:cubicBezTo>
                          <a:pt x="2183330" y="3128688"/>
                          <a:pt x="2163778" y="3122113"/>
                          <a:pt x="2144227" y="3115537"/>
                        </a:cubicBezTo>
                        <a:cubicBezTo>
                          <a:pt x="2105125" y="3102384"/>
                          <a:pt x="2066023" y="3069505"/>
                          <a:pt x="2039956" y="3036625"/>
                        </a:cubicBezTo>
                        <a:cubicBezTo>
                          <a:pt x="2033439" y="3023473"/>
                          <a:pt x="2020405" y="3003746"/>
                          <a:pt x="2007370" y="2997170"/>
                        </a:cubicBezTo>
                        <a:cubicBezTo>
                          <a:pt x="1994337" y="2990594"/>
                          <a:pt x="1974786" y="2990594"/>
                          <a:pt x="1955235" y="2984018"/>
                        </a:cubicBezTo>
                        <a:cubicBezTo>
                          <a:pt x="1935684" y="2977442"/>
                          <a:pt x="1909616" y="2977442"/>
                          <a:pt x="1890065" y="2977442"/>
                        </a:cubicBezTo>
                        <a:cubicBezTo>
                          <a:pt x="1870514" y="2977442"/>
                          <a:pt x="1844446" y="2984018"/>
                          <a:pt x="1824895" y="2977442"/>
                        </a:cubicBezTo>
                        <a:cubicBezTo>
                          <a:pt x="1811861" y="2977442"/>
                          <a:pt x="1798827" y="2977442"/>
                          <a:pt x="1785793" y="2977442"/>
                        </a:cubicBezTo>
                        <a:cubicBezTo>
                          <a:pt x="1779307" y="2977442"/>
                          <a:pt x="1772819" y="2983959"/>
                          <a:pt x="1772759" y="2984018"/>
                        </a:cubicBezTo>
                        <a:cubicBezTo>
                          <a:pt x="1772759" y="2990565"/>
                          <a:pt x="1772759" y="2997110"/>
                          <a:pt x="1772759" y="2997170"/>
                        </a:cubicBezTo>
                        <a:lnTo>
                          <a:pt x="1772759" y="2999378"/>
                        </a:lnTo>
                        <a:cubicBezTo>
                          <a:pt x="1748087" y="2950273"/>
                          <a:pt x="1724475" y="2901467"/>
                          <a:pt x="1702560" y="2852555"/>
                        </a:cubicBezTo>
                        <a:cubicBezTo>
                          <a:pt x="1748596" y="2828936"/>
                          <a:pt x="1781151" y="2784418"/>
                          <a:pt x="1790909" y="2731861"/>
                        </a:cubicBezTo>
                        <a:cubicBezTo>
                          <a:pt x="1800866" y="2734739"/>
                          <a:pt x="1811233" y="2737995"/>
                          <a:pt x="1819190" y="2734009"/>
                        </a:cubicBezTo>
                        <a:cubicBezTo>
                          <a:pt x="1832327" y="2727427"/>
                          <a:pt x="1832327" y="2714265"/>
                          <a:pt x="1825758" y="2707683"/>
                        </a:cubicBezTo>
                        <a:cubicBezTo>
                          <a:pt x="1819190" y="2694520"/>
                          <a:pt x="1806051" y="2684647"/>
                          <a:pt x="1792914" y="2681356"/>
                        </a:cubicBezTo>
                        <a:lnTo>
                          <a:pt x="1792619" y="2681363"/>
                        </a:lnTo>
                        <a:cubicBezTo>
                          <a:pt x="1788577" y="2632255"/>
                          <a:pt x="1764691" y="2588846"/>
                          <a:pt x="1728105" y="2560069"/>
                        </a:cubicBezTo>
                        <a:cubicBezTo>
                          <a:pt x="1835327" y="2282920"/>
                          <a:pt x="2009805" y="1984326"/>
                          <a:pt x="2218953" y="1692434"/>
                        </a:cubicBezTo>
                        <a:cubicBezTo>
                          <a:pt x="2222347" y="1692216"/>
                          <a:pt x="2225642" y="1693181"/>
                          <a:pt x="2229144" y="1694355"/>
                        </a:cubicBezTo>
                        <a:cubicBezTo>
                          <a:pt x="2242273" y="1694355"/>
                          <a:pt x="2248838" y="1707556"/>
                          <a:pt x="2261967" y="1707556"/>
                        </a:cubicBezTo>
                        <a:cubicBezTo>
                          <a:pt x="2275096" y="1707556"/>
                          <a:pt x="2288225" y="1707556"/>
                          <a:pt x="2294790" y="1694355"/>
                        </a:cubicBezTo>
                        <a:cubicBezTo>
                          <a:pt x="2301354" y="1674555"/>
                          <a:pt x="2288225" y="1667954"/>
                          <a:pt x="2275096" y="1654754"/>
                        </a:cubicBezTo>
                        <a:lnTo>
                          <a:pt x="2258691" y="1638260"/>
                        </a:lnTo>
                        <a:close/>
                        <a:moveTo>
                          <a:pt x="2113689" y="1410315"/>
                        </a:moveTo>
                        <a:cubicBezTo>
                          <a:pt x="2182975" y="1433311"/>
                          <a:pt x="2252144" y="1458468"/>
                          <a:pt x="2321184" y="1485101"/>
                        </a:cubicBezTo>
                        <a:cubicBezTo>
                          <a:pt x="2289129" y="1525509"/>
                          <a:pt x="2258980" y="1566814"/>
                          <a:pt x="2229636" y="1608083"/>
                        </a:cubicBezTo>
                        <a:cubicBezTo>
                          <a:pt x="2225516" y="1606903"/>
                          <a:pt x="2220973" y="1606891"/>
                          <a:pt x="2216015" y="1608553"/>
                        </a:cubicBezTo>
                        <a:cubicBezTo>
                          <a:pt x="2209450" y="1608553"/>
                          <a:pt x="2209450" y="1615153"/>
                          <a:pt x="2202886" y="1615153"/>
                        </a:cubicBezTo>
                        <a:cubicBezTo>
                          <a:pt x="2196321" y="1615153"/>
                          <a:pt x="2183192" y="1615153"/>
                          <a:pt x="2183192" y="1608553"/>
                        </a:cubicBezTo>
                        <a:cubicBezTo>
                          <a:pt x="2176629" y="1601952"/>
                          <a:pt x="2183192" y="1595352"/>
                          <a:pt x="2183192" y="1582152"/>
                        </a:cubicBezTo>
                        <a:cubicBezTo>
                          <a:pt x="2189757" y="1575551"/>
                          <a:pt x="2189757" y="1562351"/>
                          <a:pt x="2196321" y="1549151"/>
                        </a:cubicBezTo>
                        <a:cubicBezTo>
                          <a:pt x="2196321" y="1542550"/>
                          <a:pt x="2196321" y="1529349"/>
                          <a:pt x="2189757" y="1529349"/>
                        </a:cubicBezTo>
                        <a:cubicBezTo>
                          <a:pt x="2183192" y="1529349"/>
                          <a:pt x="2183192" y="1529349"/>
                          <a:pt x="2176629" y="1529349"/>
                        </a:cubicBezTo>
                        <a:cubicBezTo>
                          <a:pt x="2163500" y="1529349"/>
                          <a:pt x="2163500" y="1555750"/>
                          <a:pt x="2163500" y="1568951"/>
                        </a:cubicBezTo>
                        <a:cubicBezTo>
                          <a:pt x="2156935" y="1601952"/>
                          <a:pt x="2110983" y="1621752"/>
                          <a:pt x="2110983" y="1648154"/>
                        </a:cubicBezTo>
                        <a:cubicBezTo>
                          <a:pt x="2116956" y="1684186"/>
                          <a:pt x="2144667" y="1692897"/>
                          <a:pt x="2169460" y="1692884"/>
                        </a:cubicBezTo>
                        <a:cubicBezTo>
                          <a:pt x="1961170" y="1988840"/>
                          <a:pt x="1796647" y="2279991"/>
                          <a:pt x="1692801" y="2537872"/>
                        </a:cubicBezTo>
                        <a:cubicBezTo>
                          <a:pt x="1669542" y="2523926"/>
                          <a:pt x="1642229" y="2517154"/>
                          <a:pt x="1613334" y="2517154"/>
                        </a:cubicBezTo>
                        <a:lnTo>
                          <a:pt x="1554453" y="2528627"/>
                        </a:lnTo>
                        <a:lnTo>
                          <a:pt x="1534460" y="2483231"/>
                        </a:lnTo>
                        <a:cubicBezTo>
                          <a:pt x="1551181" y="2481709"/>
                          <a:pt x="1551181" y="2455131"/>
                          <a:pt x="1551181" y="2438219"/>
                        </a:cubicBezTo>
                        <a:cubicBezTo>
                          <a:pt x="1544664" y="2411916"/>
                          <a:pt x="1531630" y="2392188"/>
                          <a:pt x="1525113" y="2365885"/>
                        </a:cubicBezTo>
                        <a:cubicBezTo>
                          <a:pt x="1512079" y="2339582"/>
                          <a:pt x="1512079" y="2313278"/>
                          <a:pt x="1525113" y="2286974"/>
                        </a:cubicBezTo>
                        <a:cubicBezTo>
                          <a:pt x="1538147" y="2260671"/>
                          <a:pt x="1564215" y="2240943"/>
                          <a:pt x="1583766" y="2221216"/>
                        </a:cubicBezTo>
                        <a:cubicBezTo>
                          <a:pt x="1596800" y="2201487"/>
                          <a:pt x="1616351" y="2194912"/>
                          <a:pt x="1629385" y="2175183"/>
                        </a:cubicBezTo>
                        <a:cubicBezTo>
                          <a:pt x="1635902" y="2162032"/>
                          <a:pt x="1642419" y="2148881"/>
                          <a:pt x="1642419" y="2135728"/>
                        </a:cubicBezTo>
                        <a:cubicBezTo>
                          <a:pt x="1642419" y="2129152"/>
                          <a:pt x="1635902" y="2122577"/>
                          <a:pt x="1635902" y="2116001"/>
                        </a:cubicBezTo>
                        <a:cubicBezTo>
                          <a:pt x="1635902" y="2102849"/>
                          <a:pt x="1635902" y="2096273"/>
                          <a:pt x="1635902" y="2089697"/>
                        </a:cubicBezTo>
                        <a:cubicBezTo>
                          <a:pt x="1635902" y="2069970"/>
                          <a:pt x="1629385" y="2050241"/>
                          <a:pt x="1635902" y="2030514"/>
                        </a:cubicBezTo>
                        <a:cubicBezTo>
                          <a:pt x="1635902" y="2023939"/>
                          <a:pt x="1648936" y="1997635"/>
                          <a:pt x="1655453" y="2010786"/>
                        </a:cubicBezTo>
                        <a:cubicBezTo>
                          <a:pt x="1661970" y="2017362"/>
                          <a:pt x="1661970" y="2023939"/>
                          <a:pt x="1655453" y="2030514"/>
                        </a:cubicBezTo>
                        <a:cubicBezTo>
                          <a:pt x="1655453" y="2037090"/>
                          <a:pt x="1655453" y="2043666"/>
                          <a:pt x="1661970" y="2050241"/>
                        </a:cubicBezTo>
                        <a:cubicBezTo>
                          <a:pt x="1668487" y="2056817"/>
                          <a:pt x="1681521" y="2063394"/>
                          <a:pt x="1688038" y="2050241"/>
                        </a:cubicBezTo>
                        <a:cubicBezTo>
                          <a:pt x="1688038" y="2043666"/>
                          <a:pt x="1688038" y="2030514"/>
                          <a:pt x="1688038" y="2017362"/>
                        </a:cubicBezTo>
                        <a:cubicBezTo>
                          <a:pt x="1688038" y="2010786"/>
                          <a:pt x="1688038" y="2010786"/>
                          <a:pt x="1688038" y="2004210"/>
                        </a:cubicBezTo>
                        <a:cubicBezTo>
                          <a:pt x="1694555" y="1991059"/>
                          <a:pt x="1707589" y="1984483"/>
                          <a:pt x="1714106" y="1977906"/>
                        </a:cubicBezTo>
                        <a:cubicBezTo>
                          <a:pt x="1714106" y="1971331"/>
                          <a:pt x="1714106" y="1964755"/>
                          <a:pt x="1720624" y="1958179"/>
                        </a:cubicBezTo>
                        <a:cubicBezTo>
                          <a:pt x="1720624" y="1951603"/>
                          <a:pt x="1727140" y="1945028"/>
                          <a:pt x="1733657" y="1938451"/>
                        </a:cubicBezTo>
                        <a:cubicBezTo>
                          <a:pt x="1753208" y="1912148"/>
                          <a:pt x="1772759" y="1885845"/>
                          <a:pt x="1792310" y="1859541"/>
                        </a:cubicBezTo>
                        <a:cubicBezTo>
                          <a:pt x="1805344" y="1846390"/>
                          <a:pt x="1837929" y="1820086"/>
                          <a:pt x="1857480" y="1820086"/>
                        </a:cubicBezTo>
                        <a:cubicBezTo>
                          <a:pt x="1870514" y="1813510"/>
                          <a:pt x="1883548" y="1820086"/>
                          <a:pt x="1890065" y="1806934"/>
                        </a:cubicBezTo>
                        <a:cubicBezTo>
                          <a:pt x="1896582" y="1793783"/>
                          <a:pt x="1890065" y="1793783"/>
                          <a:pt x="1903099" y="1787207"/>
                        </a:cubicBezTo>
                        <a:cubicBezTo>
                          <a:pt x="1909616" y="1780630"/>
                          <a:pt x="1948717" y="1767479"/>
                          <a:pt x="1948717" y="1787207"/>
                        </a:cubicBezTo>
                        <a:cubicBezTo>
                          <a:pt x="1942201" y="1793783"/>
                          <a:pt x="1935684" y="1800359"/>
                          <a:pt x="1929166" y="1806934"/>
                        </a:cubicBezTo>
                        <a:cubicBezTo>
                          <a:pt x="1922650" y="1813510"/>
                          <a:pt x="1916133" y="1820086"/>
                          <a:pt x="1922650" y="1833238"/>
                        </a:cubicBezTo>
                        <a:cubicBezTo>
                          <a:pt x="1929166" y="1839814"/>
                          <a:pt x="1942201" y="1846390"/>
                          <a:pt x="1955235" y="1846390"/>
                        </a:cubicBezTo>
                        <a:cubicBezTo>
                          <a:pt x="1968268" y="1846390"/>
                          <a:pt x="1974786" y="1839814"/>
                          <a:pt x="1987819" y="1826663"/>
                        </a:cubicBezTo>
                        <a:cubicBezTo>
                          <a:pt x="1994337" y="1820086"/>
                          <a:pt x="1994337" y="1806934"/>
                          <a:pt x="2007370" y="1800359"/>
                        </a:cubicBezTo>
                        <a:cubicBezTo>
                          <a:pt x="2013888" y="1800359"/>
                          <a:pt x="2033439" y="1787207"/>
                          <a:pt x="2039956" y="1780630"/>
                        </a:cubicBezTo>
                        <a:cubicBezTo>
                          <a:pt x="2052990" y="1760903"/>
                          <a:pt x="1994342" y="1767479"/>
                          <a:pt x="1987819" y="1767479"/>
                        </a:cubicBezTo>
                        <a:cubicBezTo>
                          <a:pt x="1974786" y="1760903"/>
                          <a:pt x="1955235" y="1741175"/>
                          <a:pt x="1955235" y="1728023"/>
                        </a:cubicBezTo>
                        <a:cubicBezTo>
                          <a:pt x="1948717" y="1708296"/>
                          <a:pt x="1955235" y="1695144"/>
                          <a:pt x="1942201" y="1688568"/>
                        </a:cubicBezTo>
                        <a:cubicBezTo>
                          <a:pt x="1935684" y="1681992"/>
                          <a:pt x="1929166" y="1681992"/>
                          <a:pt x="1922650" y="1675417"/>
                        </a:cubicBezTo>
                        <a:cubicBezTo>
                          <a:pt x="1919391" y="1672129"/>
                          <a:pt x="1917762" y="1668841"/>
                          <a:pt x="1918577" y="1666374"/>
                        </a:cubicBezTo>
                        <a:lnTo>
                          <a:pt x="1929166" y="1662264"/>
                        </a:lnTo>
                        <a:cubicBezTo>
                          <a:pt x="1935684" y="1655688"/>
                          <a:pt x="1942201" y="1662264"/>
                          <a:pt x="1948717" y="1655688"/>
                        </a:cubicBezTo>
                        <a:cubicBezTo>
                          <a:pt x="1955235" y="1649113"/>
                          <a:pt x="1961752" y="1642537"/>
                          <a:pt x="1955235" y="1629384"/>
                        </a:cubicBezTo>
                        <a:cubicBezTo>
                          <a:pt x="1948717" y="1609657"/>
                          <a:pt x="1929166" y="1609657"/>
                          <a:pt x="1909616" y="1616233"/>
                        </a:cubicBezTo>
                        <a:cubicBezTo>
                          <a:pt x="1909549" y="1616273"/>
                          <a:pt x="1896571" y="1622809"/>
                          <a:pt x="1890065" y="1622809"/>
                        </a:cubicBezTo>
                        <a:cubicBezTo>
                          <a:pt x="1877031" y="1629384"/>
                          <a:pt x="1857480" y="1642537"/>
                          <a:pt x="1844446" y="1655688"/>
                        </a:cubicBezTo>
                        <a:cubicBezTo>
                          <a:pt x="1844446" y="1662264"/>
                          <a:pt x="1837929" y="1668841"/>
                          <a:pt x="1831412" y="1668841"/>
                        </a:cubicBezTo>
                        <a:cubicBezTo>
                          <a:pt x="1824895" y="1662264"/>
                          <a:pt x="1831412" y="1649113"/>
                          <a:pt x="1837929" y="1642537"/>
                        </a:cubicBezTo>
                        <a:cubicBezTo>
                          <a:pt x="1844446" y="1635961"/>
                          <a:pt x="1850963" y="1622809"/>
                          <a:pt x="1857480" y="1616233"/>
                        </a:cubicBezTo>
                        <a:cubicBezTo>
                          <a:pt x="1877031" y="1596506"/>
                          <a:pt x="1896582" y="1583353"/>
                          <a:pt x="1916133" y="1583353"/>
                        </a:cubicBezTo>
                        <a:cubicBezTo>
                          <a:pt x="1929166" y="1576777"/>
                          <a:pt x="1935684" y="1576777"/>
                          <a:pt x="1942201" y="1576777"/>
                        </a:cubicBezTo>
                        <a:cubicBezTo>
                          <a:pt x="1968268" y="1576777"/>
                          <a:pt x="1987819" y="1583353"/>
                          <a:pt x="2007370" y="1576777"/>
                        </a:cubicBezTo>
                        <a:cubicBezTo>
                          <a:pt x="2026921" y="1576777"/>
                          <a:pt x="2046472" y="1583353"/>
                          <a:pt x="2059507" y="1576777"/>
                        </a:cubicBezTo>
                        <a:cubicBezTo>
                          <a:pt x="2066023" y="1576777"/>
                          <a:pt x="2072541" y="1570202"/>
                          <a:pt x="2079058" y="1570202"/>
                        </a:cubicBezTo>
                        <a:cubicBezTo>
                          <a:pt x="2092092" y="1563626"/>
                          <a:pt x="2098608" y="1557050"/>
                          <a:pt x="2105125" y="1550473"/>
                        </a:cubicBezTo>
                        <a:cubicBezTo>
                          <a:pt x="2118159" y="1543898"/>
                          <a:pt x="2111643" y="1530746"/>
                          <a:pt x="2118159" y="1524170"/>
                        </a:cubicBezTo>
                        <a:cubicBezTo>
                          <a:pt x="2137710" y="1497866"/>
                          <a:pt x="2170296" y="1530746"/>
                          <a:pt x="2189847" y="1511018"/>
                        </a:cubicBezTo>
                        <a:cubicBezTo>
                          <a:pt x="2202881" y="1504442"/>
                          <a:pt x="2209398" y="1484715"/>
                          <a:pt x="2209398" y="1471563"/>
                        </a:cubicBezTo>
                        <a:cubicBezTo>
                          <a:pt x="2202881" y="1458411"/>
                          <a:pt x="2196363" y="1458411"/>
                          <a:pt x="2189847" y="1451835"/>
                        </a:cubicBezTo>
                        <a:cubicBezTo>
                          <a:pt x="2176812" y="1451835"/>
                          <a:pt x="2176812" y="1445260"/>
                          <a:pt x="2163778" y="1445260"/>
                        </a:cubicBezTo>
                        <a:cubicBezTo>
                          <a:pt x="2157261" y="1445260"/>
                          <a:pt x="2150745" y="1451835"/>
                          <a:pt x="2144227" y="1451835"/>
                        </a:cubicBezTo>
                        <a:cubicBezTo>
                          <a:pt x="2124676" y="1464987"/>
                          <a:pt x="2111643" y="1471563"/>
                          <a:pt x="2098608" y="1471563"/>
                        </a:cubicBezTo>
                        <a:cubicBezTo>
                          <a:pt x="2085574" y="1471563"/>
                          <a:pt x="2072541" y="1458411"/>
                          <a:pt x="2079058" y="1445260"/>
                        </a:cubicBezTo>
                        <a:cubicBezTo>
                          <a:pt x="2079058" y="1432107"/>
                          <a:pt x="2098608" y="1432107"/>
                          <a:pt x="2105125" y="1418956"/>
                        </a:cubicBezTo>
                        <a:close/>
                        <a:moveTo>
                          <a:pt x="3448170" y="1384560"/>
                        </a:moveTo>
                        <a:cubicBezTo>
                          <a:pt x="3441579" y="1384560"/>
                          <a:pt x="3434988" y="1391217"/>
                          <a:pt x="3428397" y="1397877"/>
                        </a:cubicBezTo>
                        <a:cubicBezTo>
                          <a:pt x="3421807" y="1404535"/>
                          <a:pt x="3415216" y="1411193"/>
                          <a:pt x="3408625" y="1411193"/>
                        </a:cubicBezTo>
                        <a:cubicBezTo>
                          <a:pt x="3402034" y="1417852"/>
                          <a:pt x="3395444" y="1411193"/>
                          <a:pt x="3388852" y="1417852"/>
                        </a:cubicBezTo>
                        <a:cubicBezTo>
                          <a:pt x="3388852" y="1424511"/>
                          <a:pt x="3395444" y="1424511"/>
                          <a:pt x="3395444" y="1431168"/>
                        </a:cubicBezTo>
                        <a:cubicBezTo>
                          <a:pt x="3395444" y="1444486"/>
                          <a:pt x="3375670" y="1437826"/>
                          <a:pt x="3382261" y="1451143"/>
                        </a:cubicBezTo>
                        <a:cubicBezTo>
                          <a:pt x="3382261" y="1457802"/>
                          <a:pt x="3388852" y="1457802"/>
                          <a:pt x="3395444" y="1464461"/>
                        </a:cubicBezTo>
                        <a:cubicBezTo>
                          <a:pt x="3395444" y="1464562"/>
                          <a:pt x="3395444" y="1477800"/>
                          <a:pt x="3395444" y="1484437"/>
                        </a:cubicBezTo>
                        <a:cubicBezTo>
                          <a:pt x="3395444" y="1491095"/>
                          <a:pt x="3395444" y="1497753"/>
                          <a:pt x="3388852" y="1497753"/>
                        </a:cubicBezTo>
                        <a:cubicBezTo>
                          <a:pt x="3382314" y="1504359"/>
                          <a:pt x="3375774" y="1504412"/>
                          <a:pt x="3375670" y="1504412"/>
                        </a:cubicBezTo>
                        <a:cubicBezTo>
                          <a:pt x="3375670" y="1511071"/>
                          <a:pt x="3375670" y="1517728"/>
                          <a:pt x="3369079" y="1524387"/>
                        </a:cubicBezTo>
                        <a:lnTo>
                          <a:pt x="3369904" y="1530213"/>
                        </a:lnTo>
                        <a:cubicBezTo>
                          <a:pt x="3370728" y="1531046"/>
                          <a:pt x="3372375" y="1531046"/>
                          <a:pt x="3375670" y="1531046"/>
                        </a:cubicBezTo>
                        <a:lnTo>
                          <a:pt x="3378966" y="1536039"/>
                        </a:lnTo>
                        <a:lnTo>
                          <a:pt x="3382261" y="1531046"/>
                        </a:lnTo>
                        <a:cubicBezTo>
                          <a:pt x="3388852" y="1531046"/>
                          <a:pt x="3388852" y="1531046"/>
                          <a:pt x="3395444" y="1531046"/>
                        </a:cubicBezTo>
                        <a:cubicBezTo>
                          <a:pt x="3402034" y="1531046"/>
                          <a:pt x="3408625" y="1537703"/>
                          <a:pt x="3415216" y="1537703"/>
                        </a:cubicBezTo>
                        <a:cubicBezTo>
                          <a:pt x="3421807" y="1537703"/>
                          <a:pt x="3421807" y="1531046"/>
                          <a:pt x="3428397" y="1524387"/>
                        </a:cubicBezTo>
                        <a:cubicBezTo>
                          <a:pt x="3434988" y="1524387"/>
                          <a:pt x="3434988" y="1517728"/>
                          <a:pt x="3441579" y="1517728"/>
                        </a:cubicBezTo>
                        <a:cubicBezTo>
                          <a:pt x="3448170" y="1511071"/>
                          <a:pt x="3448170" y="1511071"/>
                          <a:pt x="3454762" y="1511071"/>
                        </a:cubicBezTo>
                        <a:cubicBezTo>
                          <a:pt x="3461292" y="1511071"/>
                          <a:pt x="3461352" y="1504532"/>
                          <a:pt x="3461352" y="1504412"/>
                        </a:cubicBezTo>
                        <a:cubicBezTo>
                          <a:pt x="3467943" y="1497753"/>
                          <a:pt x="3467943" y="1491095"/>
                          <a:pt x="3474534" y="1491095"/>
                        </a:cubicBezTo>
                        <a:cubicBezTo>
                          <a:pt x="3474534" y="1477777"/>
                          <a:pt x="3467943" y="1471120"/>
                          <a:pt x="3467943" y="1457803"/>
                        </a:cubicBezTo>
                        <a:cubicBezTo>
                          <a:pt x="3467943" y="1457768"/>
                          <a:pt x="3467943" y="1451190"/>
                          <a:pt x="3467943" y="1451143"/>
                        </a:cubicBezTo>
                        <a:cubicBezTo>
                          <a:pt x="3467943" y="1444548"/>
                          <a:pt x="3467943" y="1437954"/>
                          <a:pt x="3467943" y="1437826"/>
                        </a:cubicBezTo>
                        <a:cubicBezTo>
                          <a:pt x="3467943" y="1431168"/>
                          <a:pt x="3481125" y="1431168"/>
                          <a:pt x="3481125" y="1424511"/>
                        </a:cubicBezTo>
                        <a:cubicBezTo>
                          <a:pt x="3487715" y="1417852"/>
                          <a:pt x="3481125" y="1397880"/>
                          <a:pt x="3474534" y="1391217"/>
                        </a:cubicBezTo>
                        <a:cubicBezTo>
                          <a:pt x="3474534" y="1384560"/>
                          <a:pt x="3467943" y="1391217"/>
                          <a:pt x="3461352" y="1391217"/>
                        </a:cubicBezTo>
                        <a:cubicBezTo>
                          <a:pt x="3454762" y="1391217"/>
                          <a:pt x="3454762" y="1384560"/>
                          <a:pt x="3448170" y="1384560"/>
                        </a:cubicBezTo>
                        <a:close/>
                        <a:moveTo>
                          <a:pt x="3951501" y="1350565"/>
                        </a:moveTo>
                        <a:cubicBezTo>
                          <a:pt x="3940327" y="1346911"/>
                          <a:pt x="3929153" y="1357874"/>
                          <a:pt x="3929153" y="1372494"/>
                        </a:cubicBezTo>
                        <a:cubicBezTo>
                          <a:pt x="3929153" y="1385487"/>
                          <a:pt x="3935775" y="1398482"/>
                          <a:pt x="3949018" y="1391985"/>
                        </a:cubicBezTo>
                        <a:cubicBezTo>
                          <a:pt x="3962260" y="1391985"/>
                          <a:pt x="3962260" y="1372494"/>
                          <a:pt x="3962260" y="1359499"/>
                        </a:cubicBezTo>
                        <a:cubicBezTo>
                          <a:pt x="3958950" y="1354626"/>
                          <a:pt x="3955226" y="1351784"/>
                          <a:pt x="3951501" y="1350565"/>
                        </a:cubicBezTo>
                        <a:close/>
                        <a:moveTo>
                          <a:pt x="3538712" y="1228629"/>
                        </a:moveTo>
                        <a:cubicBezTo>
                          <a:pt x="3532126" y="1235193"/>
                          <a:pt x="3525540" y="1235193"/>
                          <a:pt x="3518953" y="1235193"/>
                        </a:cubicBezTo>
                        <a:cubicBezTo>
                          <a:pt x="3512368" y="1235193"/>
                          <a:pt x="3512368" y="1241756"/>
                          <a:pt x="3512368" y="1248320"/>
                        </a:cubicBezTo>
                        <a:cubicBezTo>
                          <a:pt x="3512368" y="1254883"/>
                          <a:pt x="3505781" y="1248320"/>
                          <a:pt x="3505781" y="1254883"/>
                        </a:cubicBezTo>
                        <a:cubicBezTo>
                          <a:pt x="3499196" y="1261446"/>
                          <a:pt x="3505781" y="1261446"/>
                          <a:pt x="3505781" y="1268009"/>
                        </a:cubicBezTo>
                        <a:cubicBezTo>
                          <a:pt x="3499247" y="1274523"/>
                          <a:pt x="3492713" y="1274572"/>
                          <a:pt x="3492610" y="1274572"/>
                        </a:cubicBezTo>
                        <a:cubicBezTo>
                          <a:pt x="3486024" y="1281136"/>
                          <a:pt x="3492610" y="1287700"/>
                          <a:pt x="3492610" y="1294263"/>
                        </a:cubicBezTo>
                        <a:cubicBezTo>
                          <a:pt x="3505781" y="1294263"/>
                          <a:pt x="3492610" y="1307391"/>
                          <a:pt x="3486024" y="1313952"/>
                        </a:cubicBezTo>
                        <a:cubicBezTo>
                          <a:pt x="3486024" y="1320516"/>
                          <a:pt x="3492610" y="1320516"/>
                          <a:pt x="3492610" y="1327079"/>
                        </a:cubicBezTo>
                        <a:cubicBezTo>
                          <a:pt x="3492610" y="1333643"/>
                          <a:pt x="3492610" y="1333643"/>
                          <a:pt x="3492610" y="1340207"/>
                        </a:cubicBezTo>
                        <a:cubicBezTo>
                          <a:pt x="3492610" y="1346732"/>
                          <a:pt x="3499119" y="1346770"/>
                          <a:pt x="3499196" y="1346770"/>
                        </a:cubicBezTo>
                        <a:cubicBezTo>
                          <a:pt x="3505781" y="1353334"/>
                          <a:pt x="3512368" y="1353334"/>
                          <a:pt x="3512368" y="1359898"/>
                        </a:cubicBezTo>
                        <a:cubicBezTo>
                          <a:pt x="3512342" y="1359923"/>
                          <a:pt x="3505795" y="1366473"/>
                          <a:pt x="3512368" y="1373023"/>
                        </a:cubicBezTo>
                        <a:cubicBezTo>
                          <a:pt x="3512368" y="1379586"/>
                          <a:pt x="3518953" y="1386150"/>
                          <a:pt x="3525540" y="1386150"/>
                        </a:cubicBezTo>
                        <a:cubicBezTo>
                          <a:pt x="3532126" y="1386150"/>
                          <a:pt x="3545298" y="1386150"/>
                          <a:pt x="3551884" y="1392714"/>
                        </a:cubicBezTo>
                        <a:cubicBezTo>
                          <a:pt x="3558470" y="1399277"/>
                          <a:pt x="3532126" y="1412405"/>
                          <a:pt x="3545298" y="1418967"/>
                        </a:cubicBezTo>
                        <a:cubicBezTo>
                          <a:pt x="3551884" y="1418967"/>
                          <a:pt x="3558470" y="1412405"/>
                          <a:pt x="3565055" y="1418967"/>
                        </a:cubicBezTo>
                        <a:cubicBezTo>
                          <a:pt x="3571642" y="1445221"/>
                          <a:pt x="3532126" y="1438657"/>
                          <a:pt x="3525540" y="1451784"/>
                        </a:cubicBezTo>
                        <a:cubicBezTo>
                          <a:pt x="3518953" y="1458348"/>
                          <a:pt x="3525540" y="1458348"/>
                          <a:pt x="3525540" y="1464912"/>
                        </a:cubicBezTo>
                        <a:cubicBezTo>
                          <a:pt x="3525540" y="1471474"/>
                          <a:pt x="3518953" y="1471474"/>
                          <a:pt x="3518953" y="1484601"/>
                        </a:cubicBezTo>
                        <a:cubicBezTo>
                          <a:pt x="3518953" y="1491164"/>
                          <a:pt x="3525540" y="1491164"/>
                          <a:pt x="3518953" y="1497728"/>
                        </a:cubicBezTo>
                        <a:cubicBezTo>
                          <a:pt x="3518953" y="1504291"/>
                          <a:pt x="3512368" y="1504291"/>
                          <a:pt x="3505781" y="1510855"/>
                        </a:cubicBezTo>
                        <a:cubicBezTo>
                          <a:pt x="3499196" y="1517419"/>
                          <a:pt x="3512368" y="1523981"/>
                          <a:pt x="3518953" y="1523981"/>
                        </a:cubicBezTo>
                        <a:cubicBezTo>
                          <a:pt x="3525540" y="1523981"/>
                          <a:pt x="3525540" y="1530544"/>
                          <a:pt x="3532126" y="1530544"/>
                        </a:cubicBezTo>
                        <a:cubicBezTo>
                          <a:pt x="3538712" y="1530544"/>
                          <a:pt x="3545298" y="1530544"/>
                          <a:pt x="3558470" y="1530544"/>
                        </a:cubicBezTo>
                        <a:cubicBezTo>
                          <a:pt x="3558504" y="1530578"/>
                          <a:pt x="3564964" y="1537017"/>
                          <a:pt x="3565055" y="1537108"/>
                        </a:cubicBezTo>
                        <a:cubicBezTo>
                          <a:pt x="3551884" y="1543671"/>
                          <a:pt x="3545298" y="1543671"/>
                          <a:pt x="3532126" y="1543671"/>
                        </a:cubicBezTo>
                        <a:cubicBezTo>
                          <a:pt x="3525540" y="1543671"/>
                          <a:pt x="3518953" y="1543671"/>
                          <a:pt x="3512368" y="1550235"/>
                        </a:cubicBezTo>
                        <a:cubicBezTo>
                          <a:pt x="3512368" y="1556798"/>
                          <a:pt x="3505781" y="1563362"/>
                          <a:pt x="3499196" y="1569926"/>
                        </a:cubicBezTo>
                        <a:cubicBezTo>
                          <a:pt x="3492610" y="1576488"/>
                          <a:pt x="3486024" y="1576488"/>
                          <a:pt x="3479438" y="1583052"/>
                        </a:cubicBezTo>
                        <a:cubicBezTo>
                          <a:pt x="3479438" y="1589615"/>
                          <a:pt x="3479438" y="1596178"/>
                          <a:pt x="3486024" y="1596178"/>
                        </a:cubicBezTo>
                        <a:cubicBezTo>
                          <a:pt x="3499196" y="1596178"/>
                          <a:pt x="3499196" y="1589615"/>
                          <a:pt x="3505781" y="1583052"/>
                        </a:cubicBezTo>
                        <a:cubicBezTo>
                          <a:pt x="3512368" y="1583052"/>
                          <a:pt x="3518953" y="1576488"/>
                          <a:pt x="3532126" y="1576488"/>
                        </a:cubicBezTo>
                        <a:cubicBezTo>
                          <a:pt x="3538712" y="1576488"/>
                          <a:pt x="3545298" y="1576488"/>
                          <a:pt x="3551884" y="1569926"/>
                        </a:cubicBezTo>
                        <a:cubicBezTo>
                          <a:pt x="3558470" y="1563362"/>
                          <a:pt x="3565055" y="1569926"/>
                          <a:pt x="3571642" y="1569926"/>
                        </a:cubicBezTo>
                        <a:cubicBezTo>
                          <a:pt x="3584814" y="1569926"/>
                          <a:pt x="3591399" y="1563362"/>
                          <a:pt x="3597986" y="1556798"/>
                        </a:cubicBezTo>
                        <a:cubicBezTo>
                          <a:pt x="3611157" y="1556798"/>
                          <a:pt x="3617744" y="1563362"/>
                          <a:pt x="3624329" y="1563362"/>
                        </a:cubicBezTo>
                        <a:cubicBezTo>
                          <a:pt x="3630916" y="1563362"/>
                          <a:pt x="3644088" y="1563362"/>
                          <a:pt x="3650673" y="1563362"/>
                        </a:cubicBezTo>
                        <a:cubicBezTo>
                          <a:pt x="3657260" y="1563362"/>
                          <a:pt x="3670431" y="1556798"/>
                          <a:pt x="3670431" y="1550235"/>
                        </a:cubicBezTo>
                        <a:cubicBezTo>
                          <a:pt x="3677018" y="1550235"/>
                          <a:pt x="3677018" y="1537108"/>
                          <a:pt x="3670431" y="1537108"/>
                        </a:cubicBezTo>
                        <a:cubicBezTo>
                          <a:pt x="3670329" y="1537108"/>
                          <a:pt x="3663797" y="1537058"/>
                          <a:pt x="3657260" y="1530544"/>
                        </a:cubicBezTo>
                        <a:cubicBezTo>
                          <a:pt x="3650707" y="1530544"/>
                          <a:pt x="3663715" y="1517550"/>
                          <a:pt x="3663846" y="1517419"/>
                        </a:cubicBezTo>
                        <a:cubicBezTo>
                          <a:pt x="3670431" y="1517419"/>
                          <a:pt x="3677018" y="1517419"/>
                          <a:pt x="3677018" y="1510855"/>
                        </a:cubicBezTo>
                        <a:cubicBezTo>
                          <a:pt x="3683603" y="1510855"/>
                          <a:pt x="3683603" y="1504291"/>
                          <a:pt x="3683603" y="1497728"/>
                        </a:cubicBezTo>
                        <a:cubicBezTo>
                          <a:pt x="3683603" y="1484600"/>
                          <a:pt x="3683603" y="1471474"/>
                          <a:pt x="3663846" y="1471474"/>
                        </a:cubicBezTo>
                        <a:cubicBezTo>
                          <a:pt x="3657260" y="1471474"/>
                          <a:pt x="3650673" y="1478037"/>
                          <a:pt x="3644088" y="1464912"/>
                        </a:cubicBezTo>
                        <a:cubicBezTo>
                          <a:pt x="3644088" y="1464808"/>
                          <a:pt x="3644088" y="1458467"/>
                          <a:pt x="3644088" y="1458348"/>
                        </a:cubicBezTo>
                        <a:cubicBezTo>
                          <a:pt x="3644088" y="1451784"/>
                          <a:pt x="3644088" y="1451784"/>
                          <a:pt x="3644088" y="1445221"/>
                        </a:cubicBezTo>
                        <a:cubicBezTo>
                          <a:pt x="3650673" y="1438657"/>
                          <a:pt x="3637501" y="1438657"/>
                          <a:pt x="3630916" y="1432093"/>
                        </a:cubicBezTo>
                        <a:cubicBezTo>
                          <a:pt x="3630916" y="1425530"/>
                          <a:pt x="3624329" y="1425530"/>
                          <a:pt x="3624329" y="1418967"/>
                        </a:cubicBezTo>
                        <a:cubicBezTo>
                          <a:pt x="3624329" y="1415686"/>
                          <a:pt x="3624329" y="1414045"/>
                          <a:pt x="3623506" y="1413224"/>
                        </a:cubicBezTo>
                        <a:lnTo>
                          <a:pt x="3617744" y="1412405"/>
                        </a:lnTo>
                        <a:cubicBezTo>
                          <a:pt x="3617744" y="1412327"/>
                          <a:pt x="3617702" y="1405841"/>
                          <a:pt x="3611157" y="1405841"/>
                        </a:cubicBezTo>
                        <a:cubicBezTo>
                          <a:pt x="3604572" y="1399277"/>
                          <a:pt x="3604572" y="1392714"/>
                          <a:pt x="3597986" y="1386150"/>
                        </a:cubicBezTo>
                        <a:cubicBezTo>
                          <a:pt x="3597986" y="1379586"/>
                          <a:pt x="3591399" y="1373023"/>
                          <a:pt x="3584814" y="1373023"/>
                        </a:cubicBezTo>
                        <a:cubicBezTo>
                          <a:pt x="3584814" y="1366459"/>
                          <a:pt x="3584814" y="1359898"/>
                          <a:pt x="3578227" y="1359898"/>
                        </a:cubicBezTo>
                        <a:cubicBezTo>
                          <a:pt x="3578227" y="1353334"/>
                          <a:pt x="3571642" y="1353334"/>
                          <a:pt x="3565055" y="1346770"/>
                        </a:cubicBezTo>
                        <a:cubicBezTo>
                          <a:pt x="3565055" y="1340207"/>
                          <a:pt x="3565055" y="1340207"/>
                          <a:pt x="3571642" y="1333643"/>
                        </a:cubicBezTo>
                        <a:cubicBezTo>
                          <a:pt x="3571642" y="1327079"/>
                          <a:pt x="3571642" y="1327079"/>
                          <a:pt x="3571642" y="1320516"/>
                        </a:cubicBezTo>
                        <a:cubicBezTo>
                          <a:pt x="3571642" y="1313952"/>
                          <a:pt x="3578227" y="1313952"/>
                          <a:pt x="3584814" y="1307391"/>
                        </a:cubicBezTo>
                        <a:cubicBezTo>
                          <a:pt x="3584870" y="1307336"/>
                          <a:pt x="3591399" y="1300809"/>
                          <a:pt x="3591399" y="1294263"/>
                        </a:cubicBezTo>
                        <a:cubicBezTo>
                          <a:pt x="3597986" y="1287700"/>
                          <a:pt x="3597986" y="1274573"/>
                          <a:pt x="3591399" y="1268009"/>
                        </a:cubicBezTo>
                        <a:cubicBezTo>
                          <a:pt x="3584814" y="1268009"/>
                          <a:pt x="3584814" y="1268009"/>
                          <a:pt x="3578227" y="1268009"/>
                        </a:cubicBezTo>
                        <a:cubicBezTo>
                          <a:pt x="3571642" y="1261446"/>
                          <a:pt x="3545298" y="1268009"/>
                          <a:pt x="3551884" y="1254883"/>
                        </a:cubicBezTo>
                        <a:cubicBezTo>
                          <a:pt x="3551884" y="1248341"/>
                          <a:pt x="3551884" y="1241799"/>
                          <a:pt x="3551884" y="1241756"/>
                        </a:cubicBezTo>
                        <a:cubicBezTo>
                          <a:pt x="3551884" y="1228629"/>
                          <a:pt x="3545298" y="1228629"/>
                          <a:pt x="3538712" y="1228629"/>
                        </a:cubicBezTo>
                        <a:close/>
                        <a:moveTo>
                          <a:pt x="2595194" y="1209200"/>
                        </a:moveTo>
                        <a:cubicBezTo>
                          <a:pt x="2774956" y="1389398"/>
                          <a:pt x="2930603" y="1575575"/>
                          <a:pt x="3068765" y="1756467"/>
                        </a:cubicBezTo>
                        <a:cubicBezTo>
                          <a:pt x="2842338" y="1649459"/>
                          <a:pt x="2611999" y="1553477"/>
                          <a:pt x="2385578" y="1469296"/>
                        </a:cubicBezTo>
                        <a:cubicBezTo>
                          <a:pt x="2452642" y="1380508"/>
                          <a:pt x="2523049" y="1293710"/>
                          <a:pt x="2595194" y="1209200"/>
                        </a:cubicBezTo>
                        <a:close/>
                        <a:moveTo>
                          <a:pt x="1181641" y="1140853"/>
                        </a:moveTo>
                        <a:cubicBezTo>
                          <a:pt x="1320700" y="1170169"/>
                          <a:pt x="1466250" y="1207103"/>
                          <a:pt x="1615702" y="1251029"/>
                        </a:cubicBezTo>
                        <a:cubicBezTo>
                          <a:pt x="1617687" y="1255287"/>
                          <a:pt x="1619302" y="1260515"/>
                          <a:pt x="1622868" y="1267711"/>
                        </a:cubicBezTo>
                        <a:cubicBezTo>
                          <a:pt x="1622868" y="1274286"/>
                          <a:pt x="1629385" y="1287439"/>
                          <a:pt x="1635902" y="1300590"/>
                        </a:cubicBezTo>
                        <a:cubicBezTo>
                          <a:pt x="1635902" y="1307166"/>
                          <a:pt x="1642419" y="1326894"/>
                          <a:pt x="1635902" y="1340046"/>
                        </a:cubicBezTo>
                        <a:cubicBezTo>
                          <a:pt x="1635902" y="1353197"/>
                          <a:pt x="1622868" y="1366350"/>
                          <a:pt x="1616351" y="1372926"/>
                        </a:cubicBezTo>
                        <a:cubicBezTo>
                          <a:pt x="1603317" y="1379501"/>
                          <a:pt x="1590283" y="1386077"/>
                          <a:pt x="1583766" y="1399228"/>
                        </a:cubicBezTo>
                        <a:cubicBezTo>
                          <a:pt x="1570732" y="1412380"/>
                          <a:pt x="1577249" y="1432107"/>
                          <a:pt x="1583766" y="1445260"/>
                        </a:cubicBezTo>
                        <a:cubicBezTo>
                          <a:pt x="1583766" y="1458411"/>
                          <a:pt x="1583766" y="1478139"/>
                          <a:pt x="1577249" y="1484715"/>
                        </a:cubicBezTo>
                        <a:cubicBezTo>
                          <a:pt x="1564215" y="1497866"/>
                          <a:pt x="1544664" y="1504442"/>
                          <a:pt x="1531630" y="1497866"/>
                        </a:cubicBezTo>
                        <a:cubicBezTo>
                          <a:pt x="1518596" y="1497866"/>
                          <a:pt x="1505562" y="1471563"/>
                          <a:pt x="1505562" y="1451835"/>
                        </a:cubicBezTo>
                        <a:cubicBezTo>
                          <a:pt x="1499045" y="1438683"/>
                          <a:pt x="1505562" y="1405804"/>
                          <a:pt x="1492529" y="1386077"/>
                        </a:cubicBezTo>
                        <a:cubicBezTo>
                          <a:pt x="1479494" y="1372926"/>
                          <a:pt x="1453427" y="1372926"/>
                          <a:pt x="1433876" y="1366350"/>
                        </a:cubicBezTo>
                        <a:cubicBezTo>
                          <a:pt x="1407807" y="1366350"/>
                          <a:pt x="1388256" y="1346622"/>
                          <a:pt x="1368705" y="1333470"/>
                        </a:cubicBezTo>
                        <a:cubicBezTo>
                          <a:pt x="1355672" y="1326894"/>
                          <a:pt x="1349154" y="1313742"/>
                          <a:pt x="1336121" y="1313742"/>
                        </a:cubicBezTo>
                        <a:cubicBezTo>
                          <a:pt x="1323086" y="1307166"/>
                          <a:pt x="1303536" y="1300590"/>
                          <a:pt x="1290501" y="1300590"/>
                        </a:cubicBezTo>
                        <a:cubicBezTo>
                          <a:pt x="1257916" y="1294015"/>
                          <a:pt x="1218814" y="1267711"/>
                          <a:pt x="1212297" y="1234831"/>
                        </a:cubicBezTo>
                        <a:cubicBezTo>
                          <a:pt x="1205781" y="1215104"/>
                          <a:pt x="1192746" y="1201951"/>
                          <a:pt x="1179712" y="1182224"/>
                        </a:cubicBezTo>
                        <a:cubicBezTo>
                          <a:pt x="1175799" y="1166431"/>
                          <a:pt x="1176585" y="1153008"/>
                          <a:pt x="1181641" y="1140853"/>
                        </a:cubicBezTo>
                        <a:close/>
                        <a:moveTo>
                          <a:pt x="1969953" y="1036885"/>
                        </a:moveTo>
                        <a:cubicBezTo>
                          <a:pt x="1965880" y="1039703"/>
                          <a:pt x="1963552" y="1050980"/>
                          <a:pt x="1968207" y="1050980"/>
                        </a:cubicBezTo>
                        <a:cubicBezTo>
                          <a:pt x="1980623" y="1064346"/>
                          <a:pt x="1986830" y="1044298"/>
                          <a:pt x="1980623" y="1037616"/>
                        </a:cubicBezTo>
                        <a:lnTo>
                          <a:pt x="1975191" y="1037616"/>
                        </a:lnTo>
                        <a:cubicBezTo>
                          <a:pt x="1972863" y="1035944"/>
                          <a:pt x="1971311" y="1035944"/>
                          <a:pt x="1969953" y="1036885"/>
                        </a:cubicBezTo>
                        <a:close/>
                        <a:moveTo>
                          <a:pt x="1427507" y="943107"/>
                        </a:moveTo>
                        <a:cubicBezTo>
                          <a:pt x="1422616" y="943920"/>
                          <a:pt x="1417725" y="945544"/>
                          <a:pt x="1414465" y="945544"/>
                        </a:cubicBezTo>
                        <a:cubicBezTo>
                          <a:pt x="1407943" y="945544"/>
                          <a:pt x="1407943" y="952040"/>
                          <a:pt x="1401423" y="952040"/>
                        </a:cubicBezTo>
                        <a:cubicBezTo>
                          <a:pt x="1394902" y="965035"/>
                          <a:pt x="1407943" y="971531"/>
                          <a:pt x="1407943" y="978029"/>
                        </a:cubicBezTo>
                        <a:cubicBezTo>
                          <a:pt x="1407943" y="991023"/>
                          <a:pt x="1401423" y="991023"/>
                          <a:pt x="1394902" y="997519"/>
                        </a:cubicBezTo>
                        <a:cubicBezTo>
                          <a:pt x="1368817" y="1010514"/>
                          <a:pt x="1414465" y="1036501"/>
                          <a:pt x="1427507" y="1023509"/>
                        </a:cubicBezTo>
                        <a:cubicBezTo>
                          <a:pt x="1447071" y="1010514"/>
                          <a:pt x="1427507" y="978029"/>
                          <a:pt x="1453592" y="978029"/>
                        </a:cubicBezTo>
                        <a:cubicBezTo>
                          <a:pt x="1460113" y="978029"/>
                          <a:pt x="1460113" y="1004018"/>
                          <a:pt x="1466635" y="1010514"/>
                        </a:cubicBezTo>
                        <a:cubicBezTo>
                          <a:pt x="1473156" y="1017011"/>
                          <a:pt x="1486198" y="1017011"/>
                          <a:pt x="1492719" y="1017011"/>
                        </a:cubicBezTo>
                        <a:cubicBezTo>
                          <a:pt x="1499216" y="1017011"/>
                          <a:pt x="1505712" y="1017011"/>
                          <a:pt x="1505762" y="1017011"/>
                        </a:cubicBezTo>
                        <a:cubicBezTo>
                          <a:pt x="1512274" y="1010523"/>
                          <a:pt x="1505779" y="997555"/>
                          <a:pt x="1505762" y="997519"/>
                        </a:cubicBezTo>
                        <a:cubicBezTo>
                          <a:pt x="1499263" y="991047"/>
                          <a:pt x="1492766" y="991023"/>
                          <a:pt x="1492719" y="991023"/>
                        </a:cubicBezTo>
                        <a:cubicBezTo>
                          <a:pt x="1486198" y="991023"/>
                          <a:pt x="1479677" y="984526"/>
                          <a:pt x="1473156" y="978029"/>
                        </a:cubicBezTo>
                        <a:cubicBezTo>
                          <a:pt x="1466635" y="965035"/>
                          <a:pt x="1453592" y="945544"/>
                          <a:pt x="1440550" y="945544"/>
                        </a:cubicBezTo>
                        <a:cubicBezTo>
                          <a:pt x="1437289" y="942295"/>
                          <a:pt x="1432398" y="942295"/>
                          <a:pt x="1427507" y="943107"/>
                        </a:cubicBezTo>
                        <a:close/>
                        <a:moveTo>
                          <a:pt x="988089" y="922670"/>
                        </a:moveTo>
                        <a:cubicBezTo>
                          <a:pt x="1047007" y="922670"/>
                          <a:pt x="1094769" y="970432"/>
                          <a:pt x="1094769" y="1029350"/>
                        </a:cubicBezTo>
                        <a:cubicBezTo>
                          <a:pt x="1094769" y="1088268"/>
                          <a:pt x="1047007" y="1136030"/>
                          <a:pt x="988089" y="1136030"/>
                        </a:cubicBezTo>
                        <a:cubicBezTo>
                          <a:pt x="929171" y="1136030"/>
                          <a:pt x="881409" y="1088268"/>
                          <a:pt x="881409" y="1029350"/>
                        </a:cubicBezTo>
                        <a:cubicBezTo>
                          <a:pt x="881409" y="970432"/>
                          <a:pt x="929171" y="922670"/>
                          <a:pt x="988089" y="922670"/>
                        </a:cubicBezTo>
                        <a:close/>
                        <a:moveTo>
                          <a:pt x="3224792" y="881963"/>
                        </a:moveTo>
                        <a:cubicBezTo>
                          <a:pt x="3222331" y="881127"/>
                          <a:pt x="3220690" y="881127"/>
                          <a:pt x="3220690" y="884470"/>
                        </a:cubicBezTo>
                        <a:cubicBezTo>
                          <a:pt x="3214146" y="884470"/>
                          <a:pt x="3214129" y="891116"/>
                          <a:pt x="3214129" y="891152"/>
                        </a:cubicBezTo>
                        <a:cubicBezTo>
                          <a:pt x="3207567" y="897835"/>
                          <a:pt x="3201005" y="891152"/>
                          <a:pt x="3194443" y="897835"/>
                        </a:cubicBezTo>
                        <a:cubicBezTo>
                          <a:pt x="3187882" y="897835"/>
                          <a:pt x="3187882" y="904517"/>
                          <a:pt x="3181319" y="904517"/>
                        </a:cubicBezTo>
                        <a:cubicBezTo>
                          <a:pt x="3174757" y="904517"/>
                          <a:pt x="3174757" y="897835"/>
                          <a:pt x="3168195" y="897835"/>
                        </a:cubicBezTo>
                        <a:cubicBezTo>
                          <a:pt x="3168170" y="897860"/>
                          <a:pt x="3161652" y="904499"/>
                          <a:pt x="3161634" y="904517"/>
                        </a:cubicBezTo>
                        <a:cubicBezTo>
                          <a:pt x="3155088" y="904517"/>
                          <a:pt x="3155072" y="897868"/>
                          <a:pt x="3155072" y="897835"/>
                        </a:cubicBezTo>
                        <a:cubicBezTo>
                          <a:pt x="3148510" y="891152"/>
                          <a:pt x="3148510" y="884470"/>
                          <a:pt x="3141948" y="891152"/>
                        </a:cubicBezTo>
                        <a:cubicBezTo>
                          <a:pt x="3141878" y="891230"/>
                          <a:pt x="3135387" y="897877"/>
                          <a:pt x="3135387" y="904517"/>
                        </a:cubicBezTo>
                        <a:lnTo>
                          <a:pt x="3128825" y="909529"/>
                        </a:lnTo>
                        <a:lnTo>
                          <a:pt x="3122262" y="904517"/>
                        </a:lnTo>
                        <a:cubicBezTo>
                          <a:pt x="3122262" y="904467"/>
                          <a:pt x="3122250" y="891165"/>
                          <a:pt x="3115700" y="897835"/>
                        </a:cubicBezTo>
                        <a:cubicBezTo>
                          <a:pt x="3109138" y="897835"/>
                          <a:pt x="3115700" y="911199"/>
                          <a:pt x="3109138" y="917882"/>
                        </a:cubicBezTo>
                        <a:cubicBezTo>
                          <a:pt x="3107498" y="921224"/>
                          <a:pt x="3105858" y="921224"/>
                          <a:pt x="3102577" y="924565"/>
                        </a:cubicBezTo>
                        <a:cubicBezTo>
                          <a:pt x="3096015" y="924565"/>
                          <a:pt x="3096015" y="931247"/>
                          <a:pt x="3082891" y="924565"/>
                        </a:cubicBezTo>
                        <a:cubicBezTo>
                          <a:pt x="3082891" y="924532"/>
                          <a:pt x="3082883" y="911191"/>
                          <a:pt x="3076330" y="904517"/>
                        </a:cubicBezTo>
                        <a:cubicBezTo>
                          <a:pt x="3069768" y="904517"/>
                          <a:pt x="3063205" y="904517"/>
                          <a:pt x="3056643" y="904517"/>
                        </a:cubicBezTo>
                        <a:cubicBezTo>
                          <a:pt x="3050082" y="911199"/>
                          <a:pt x="3050082" y="917882"/>
                          <a:pt x="3056643" y="924565"/>
                        </a:cubicBezTo>
                        <a:cubicBezTo>
                          <a:pt x="3056680" y="924583"/>
                          <a:pt x="3069759" y="931258"/>
                          <a:pt x="3063205" y="937931"/>
                        </a:cubicBezTo>
                        <a:cubicBezTo>
                          <a:pt x="3056643" y="944614"/>
                          <a:pt x="3050082" y="937931"/>
                          <a:pt x="3050082" y="944614"/>
                        </a:cubicBezTo>
                        <a:cubicBezTo>
                          <a:pt x="3043520" y="957979"/>
                          <a:pt x="3063205" y="957979"/>
                          <a:pt x="3069768" y="964662"/>
                        </a:cubicBezTo>
                        <a:cubicBezTo>
                          <a:pt x="3069853" y="964747"/>
                          <a:pt x="3076266" y="971280"/>
                          <a:pt x="3076330" y="971343"/>
                        </a:cubicBezTo>
                        <a:cubicBezTo>
                          <a:pt x="3076330" y="978026"/>
                          <a:pt x="3069768" y="978026"/>
                          <a:pt x="3063205" y="984709"/>
                        </a:cubicBezTo>
                        <a:lnTo>
                          <a:pt x="3063205" y="990557"/>
                        </a:lnTo>
                        <a:cubicBezTo>
                          <a:pt x="3069768" y="998075"/>
                          <a:pt x="3082891" y="991392"/>
                          <a:pt x="3089453" y="984709"/>
                        </a:cubicBezTo>
                        <a:cubicBezTo>
                          <a:pt x="3096015" y="984709"/>
                          <a:pt x="3096015" y="984709"/>
                          <a:pt x="3102577" y="991392"/>
                        </a:cubicBezTo>
                        <a:cubicBezTo>
                          <a:pt x="3109138" y="991392"/>
                          <a:pt x="3102577" y="998075"/>
                          <a:pt x="3109138" y="998075"/>
                        </a:cubicBezTo>
                        <a:cubicBezTo>
                          <a:pt x="3128825" y="1004757"/>
                          <a:pt x="3141948" y="1011440"/>
                          <a:pt x="3155072" y="1004757"/>
                        </a:cubicBezTo>
                        <a:cubicBezTo>
                          <a:pt x="3168195" y="1004757"/>
                          <a:pt x="3174757" y="991392"/>
                          <a:pt x="3194443" y="991392"/>
                        </a:cubicBezTo>
                        <a:cubicBezTo>
                          <a:pt x="3194493" y="991392"/>
                          <a:pt x="3200949" y="991392"/>
                          <a:pt x="3201005" y="991392"/>
                        </a:cubicBezTo>
                        <a:cubicBezTo>
                          <a:pt x="3214129" y="998075"/>
                          <a:pt x="3227252" y="991392"/>
                          <a:pt x="3233814" y="984709"/>
                        </a:cubicBezTo>
                        <a:cubicBezTo>
                          <a:pt x="3246937" y="978026"/>
                          <a:pt x="3260062" y="971343"/>
                          <a:pt x="3266624" y="957979"/>
                        </a:cubicBezTo>
                        <a:cubicBezTo>
                          <a:pt x="3266624" y="957954"/>
                          <a:pt x="3266624" y="951371"/>
                          <a:pt x="3266624" y="951296"/>
                        </a:cubicBezTo>
                        <a:cubicBezTo>
                          <a:pt x="3273174" y="944626"/>
                          <a:pt x="3279723" y="944614"/>
                          <a:pt x="3279747" y="944614"/>
                        </a:cubicBezTo>
                        <a:cubicBezTo>
                          <a:pt x="3286309" y="937931"/>
                          <a:pt x="3286309" y="924565"/>
                          <a:pt x="3279747" y="917882"/>
                        </a:cubicBezTo>
                        <a:cubicBezTo>
                          <a:pt x="3273186" y="904517"/>
                          <a:pt x="3253500" y="924565"/>
                          <a:pt x="3246937" y="904517"/>
                        </a:cubicBezTo>
                        <a:cubicBezTo>
                          <a:pt x="3240376" y="897835"/>
                          <a:pt x="3240376" y="891152"/>
                          <a:pt x="3233814" y="884470"/>
                        </a:cubicBezTo>
                        <a:cubicBezTo>
                          <a:pt x="3230534" y="884470"/>
                          <a:pt x="3227252" y="882799"/>
                          <a:pt x="3224792" y="881963"/>
                        </a:cubicBezTo>
                        <a:close/>
                        <a:moveTo>
                          <a:pt x="1669153" y="794253"/>
                        </a:moveTo>
                        <a:cubicBezTo>
                          <a:pt x="1650234" y="794253"/>
                          <a:pt x="1650234" y="827318"/>
                          <a:pt x="1662847" y="833930"/>
                        </a:cubicBezTo>
                        <a:cubicBezTo>
                          <a:pt x="1688073" y="847157"/>
                          <a:pt x="1694379" y="794253"/>
                          <a:pt x="1669153" y="794253"/>
                        </a:cubicBezTo>
                        <a:close/>
                        <a:moveTo>
                          <a:pt x="2917809" y="791328"/>
                        </a:moveTo>
                        <a:cubicBezTo>
                          <a:pt x="2803426" y="906978"/>
                          <a:pt x="2693404" y="1026752"/>
                          <a:pt x="2589740" y="1149249"/>
                        </a:cubicBezTo>
                        <a:cubicBezTo>
                          <a:pt x="2570891" y="1129184"/>
                          <a:pt x="2551153" y="1110170"/>
                          <a:pt x="2530315" y="1092458"/>
                        </a:cubicBezTo>
                        <a:cubicBezTo>
                          <a:pt x="2535975" y="1081630"/>
                          <a:pt x="2541271" y="1075704"/>
                          <a:pt x="2541271" y="1069778"/>
                        </a:cubicBezTo>
                        <a:cubicBezTo>
                          <a:pt x="2547784" y="1056632"/>
                          <a:pt x="2547784" y="1050059"/>
                          <a:pt x="2554299" y="1036912"/>
                        </a:cubicBezTo>
                        <a:cubicBezTo>
                          <a:pt x="2560812" y="1030340"/>
                          <a:pt x="2560812" y="1030340"/>
                          <a:pt x="2567327" y="1017193"/>
                        </a:cubicBezTo>
                        <a:cubicBezTo>
                          <a:pt x="2567327" y="1004047"/>
                          <a:pt x="2554299" y="984327"/>
                          <a:pt x="2560812" y="971181"/>
                        </a:cubicBezTo>
                        <a:cubicBezTo>
                          <a:pt x="2567327" y="958035"/>
                          <a:pt x="2593382" y="958035"/>
                          <a:pt x="2599896" y="951461"/>
                        </a:cubicBezTo>
                        <a:cubicBezTo>
                          <a:pt x="2612924" y="944888"/>
                          <a:pt x="2619438" y="938315"/>
                          <a:pt x="2619438" y="931742"/>
                        </a:cubicBezTo>
                        <a:cubicBezTo>
                          <a:pt x="2632466" y="912022"/>
                          <a:pt x="2632466" y="905450"/>
                          <a:pt x="2652007" y="905450"/>
                        </a:cubicBezTo>
                        <a:cubicBezTo>
                          <a:pt x="2671550" y="905450"/>
                          <a:pt x="2684578" y="912022"/>
                          <a:pt x="2704119" y="898876"/>
                        </a:cubicBezTo>
                        <a:cubicBezTo>
                          <a:pt x="2723661" y="892302"/>
                          <a:pt x="2730175" y="879157"/>
                          <a:pt x="2743203" y="866011"/>
                        </a:cubicBezTo>
                        <a:cubicBezTo>
                          <a:pt x="2743203" y="859438"/>
                          <a:pt x="2749717" y="852865"/>
                          <a:pt x="2756230" y="846292"/>
                        </a:cubicBezTo>
                        <a:cubicBezTo>
                          <a:pt x="2762745" y="839718"/>
                          <a:pt x="2775773" y="839718"/>
                          <a:pt x="2788801" y="833146"/>
                        </a:cubicBezTo>
                        <a:cubicBezTo>
                          <a:pt x="2795314" y="826572"/>
                          <a:pt x="2795314" y="819998"/>
                          <a:pt x="2801829" y="813426"/>
                        </a:cubicBezTo>
                        <a:cubicBezTo>
                          <a:pt x="2814856" y="793706"/>
                          <a:pt x="2847426" y="800280"/>
                          <a:pt x="2866968" y="800280"/>
                        </a:cubicBezTo>
                        <a:cubicBezTo>
                          <a:pt x="2883927" y="800280"/>
                          <a:pt x="2900886" y="796716"/>
                          <a:pt x="2917809" y="791328"/>
                        </a:cubicBezTo>
                        <a:close/>
                        <a:moveTo>
                          <a:pt x="1583467" y="713505"/>
                        </a:moveTo>
                        <a:cubicBezTo>
                          <a:pt x="1564430" y="713505"/>
                          <a:pt x="1545392" y="720465"/>
                          <a:pt x="1551738" y="734388"/>
                        </a:cubicBezTo>
                        <a:cubicBezTo>
                          <a:pt x="1551738" y="748311"/>
                          <a:pt x="1577121" y="755272"/>
                          <a:pt x="1583467" y="748311"/>
                        </a:cubicBezTo>
                        <a:cubicBezTo>
                          <a:pt x="1602503" y="741349"/>
                          <a:pt x="1608849" y="720465"/>
                          <a:pt x="1589812" y="713505"/>
                        </a:cubicBezTo>
                        <a:cubicBezTo>
                          <a:pt x="1589781" y="713505"/>
                          <a:pt x="1583519" y="713505"/>
                          <a:pt x="1583467" y="713505"/>
                        </a:cubicBezTo>
                        <a:close/>
                        <a:moveTo>
                          <a:pt x="1128374" y="667178"/>
                        </a:moveTo>
                        <a:cubicBezTo>
                          <a:pt x="1127577" y="671213"/>
                          <a:pt x="1127577" y="676056"/>
                          <a:pt x="1127577" y="682456"/>
                        </a:cubicBezTo>
                        <a:cubicBezTo>
                          <a:pt x="1121059" y="695608"/>
                          <a:pt x="1127577" y="702183"/>
                          <a:pt x="1134093" y="708760"/>
                        </a:cubicBezTo>
                        <a:cubicBezTo>
                          <a:pt x="1147128" y="715336"/>
                          <a:pt x="1160161" y="708760"/>
                          <a:pt x="1173195" y="708760"/>
                        </a:cubicBezTo>
                        <a:cubicBezTo>
                          <a:pt x="1179713" y="708760"/>
                          <a:pt x="1199263" y="715336"/>
                          <a:pt x="1199263" y="721912"/>
                        </a:cubicBezTo>
                        <a:lnTo>
                          <a:pt x="1203336" y="736707"/>
                        </a:lnTo>
                        <a:cubicBezTo>
                          <a:pt x="1202522" y="739996"/>
                          <a:pt x="1199263" y="741640"/>
                          <a:pt x="1192746" y="741640"/>
                        </a:cubicBezTo>
                        <a:cubicBezTo>
                          <a:pt x="1186230" y="748216"/>
                          <a:pt x="1173195" y="748216"/>
                          <a:pt x="1179712" y="761367"/>
                        </a:cubicBezTo>
                        <a:cubicBezTo>
                          <a:pt x="1179712" y="767943"/>
                          <a:pt x="1192744" y="774518"/>
                          <a:pt x="1192746" y="781095"/>
                        </a:cubicBezTo>
                        <a:cubicBezTo>
                          <a:pt x="1199263" y="794247"/>
                          <a:pt x="1153644" y="800822"/>
                          <a:pt x="1147128" y="813975"/>
                        </a:cubicBezTo>
                        <a:cubicBezTo>
                          <a:pt x="1147128" y="827126"/>
                          <a:pt x="1147128" y="840278"/>
                          <a:pt x="1147128" y="846853"/>
                        </a:cubicBezTo>
                        <a:cubicBezTo>
                          <a:pt x="1140610" y="853429"/>
                          <a:pt x="1127577" y="853429"/>
                          <a:pt x="1127577" y="846853"/>
                        </a:cubicBezTo>
                        <a:cubicBezTo>
                          <a:pt x="1108026" y="827126"/>
                          <a:pt x="1121059" y="794247"/>
                          <a:pt x="1094992" y="787671"/>
                        </a:cubicBezTo>
                        <a:cubicBezTo>
                          <a:pt x="1081957" y="787671"/>
                          <a:pt x="1075441" y="794247"/>
                          <a:pt x="1075441" y="807398"/>
                        </a:cubicBezTo>
                        <a:cubicBezTo>
                          <a:pt x="1068924" y="820551"/>
                          <a:pt x="1055890" y="833702"/>
                          <a:pt x="1036339" y="827126"/>
                        </a:cubicBezTo>
                        <a:cubicBezTo>
                          <a:pt x="1023304" y="827126"/>
                          <a:pt x="1016788" y="820551"/>
                          <a:pt x="997237" y="820551"/>
                        </a:cubicBezTo>
                        <a:cubicBezTo>
                          <a:pt x="990758" y="820551"/>
                          <a:pt x="984280" y="820551"/>
                          <a:pt x="984202" y="820551"/>
                        </a:cubicBezTo>
                        <a:cubicBezTo>
                          <a:pt x="975891" y="820551"/>
                          <a:pt x="970230" y="812529"/>
                          <a:pt x="964963" y="807183"/>
                        </a:cubicBezTo>
                        <a:lnTo>
                          <a:pt x="1050097" y="729092"/>
                        </a:lnTo>
                        <a:cubicBezTo>
                          <a:pt x="1044758" y="761820"/>
                          <a:pt x="1108476" y="794102"/>
                          <a:pt x="1134142" y="780977"/>
                        </a:cubicBezTo>
                        <a:cubicBezTo>
                          <a:pt x="1153617" y="774336"/>
                          <a:pt x="1147125" y="747776"/>
                          <a:pt x="1140634" y="734497"/>
                        </a:cubicBezTo>
                        <a:cubicBezTo>
                          <a:pt x="1140634" y="721217"/>
                          <a:pt x="1108177" y="714576"/>
                          <a:pt x="1101683" y="714576"/>
                        </a:cubicBezTo>
                        <a:cubicBezTo>
                          <a:pt x="1095191" y="714576"/>
                          <a:pt x="1095191" y="714576"/>
                          <a:pt x="1088701" y="707937"/>
                        </a:cubicBezTo>
                        <a:lnTo>
                          <a:pt x="1068188" y="712599"/>
                        </a:lnTo>
                        <a:close/>
                        <a:moveTo>
                          <a:pt x="2958163" y="609658"/>
                        </a:moveTo>
                        <a:cubicBezTo>
                          <a:pt x="2971191" y="609658"/>
                          <a:pt x="2997246" y="616232"/>
                          <a:pt x="3010274" y="622804"/>
                        </a:cubicBezTo>
                        <a:cubicBezTo>
                          <a:pt x="3016788" y="629378"/>
                          <a:pt x="3029816" y="635951"/>
                          <a:pt x="3036329" y="649097"/>
                        </a:cubicBezTo>
                        <a:lnTo>
                          <a:pt x="3047816" y="660688"/>
                        </a:lnTo>
                        <a:lnTo>
                          <a:pt x="3010204" y="695856"/>
                        </a:lnTo>
                        <a:cubicBezTo>
                          <a:pt x="3005124" y="697176"/>
                          <a:pt x="3000555" y="696778"/>
                          <a:pt x="2997246" y="695109"/>
                        </a:cubicBezTo>
                        <a:cubicBezTo>
                          <a:pt x="2984219" y="681963"/>
                          <a:pt x="2990732" y="668817"/>
                          <a:pt x="2984219" y="655671"/>
                        </a:cubicBezTo>
                        <a:cubicBezTo>
                          <a:pt x="2977705" y="649097"/>
                          <a:pt x="2964677" y="655671"/>
                          <a:pt x="2958163" y="655671"/>
                        </a:cubicBezTo>
                        <a:cubicBezTo>
                          <a:pt x="2958163" y="642524"/>
                          <a:pt x="2958163" y="642524"/>
                          <a:pt x="2951649" y="635951"/>
                        </a:cubicBezTo>
                        <a:cubicBezTo>
                          <a:pt x="2951649" y="629378"/>
                          <a:pt x="2938621" y="629378"/>
                          <a:pt x="2938621" y="622804"/>
                        </a:cubicBezTo>
                        <a:cubicBezTo>
                          <a:pt x="2938621" y="616232"/>
                          <a:pt x="2951649" y="609658"/>
                          <a:pt x="2958163" y="609658"/>
                        </a:cubicBezTo>
                        <a:close/>
                        <a:moveTo>
                          <a:pt x="1600752" y="502077"/>
                        </a:moveTo>
                        <a:cubicBezTo>
                          <a:pt x="1592605" y="501254"/>
                          <a:pt x="1582830" y="502899"/>
                          <a:pt x="1576313" y="502899"/>
                        </a:cubicBezTo>
                        <a:cubicBezTo>
                          <a:pt x="1563279" y="509481"/>
                          <a:pt x="1550246" y="516062"/>
                          <a:pt x="1537211" y="516062"/>
                        </a:cubicBezTo>
                        <a:cubicBezTo>
                          <a:pt x="1524178" y="516062"/>
                          <a:pt x="1517661" y="516062"/>
                          <a:pt x="1504627" y="516062"/>
                        </a:cubicBezTo>
                        <a:cubicBezTo>
                          <a:pt x="1478559" y="516062"/>
                          <a:pt x="1445975" y="516062"/>
                          <a:pt x="1432941" y="542388"/>
                        </a:cubicBezTo>
                        <a:cubicBezTo>
                          <a:pt x="1426424" y="548969"/>
                          <a:pt x="1432941" y="575294"/>
                          <a:pt x="1439459" y="588459"/>
                        </a:cubicBezTo>
                        <a:cubicBezTo>
                          <a:pt x="1439459" y="595040"/>
                          <a:pt x="1452492" y="621365"/>
                          <a:pt x="1439459" y="627947"/>
                        </a:cubicBezTo>
                        <a:cubicBezTo>
                          <a:pt x="1432941" y="634529"/>
                          <a:pt x="1413391" y="621365"/>
                          <a:pt x="1406873" y="614784"/>
                        </a:cubicBezTo>
                        <a:cubicBezTo>
                          <a:pt x="1400357" y="608203"/>
                          <a:pt x="1400357" y="588459"/>
                          <a:pt x="1400357" y="575294"/>
                        </a:cubicBezTo>
                        <a:cubicBezTo>
                          <a:pt x="1400357" y="555550"/>
                          <a:pt x="1413391" y="522643"/>
                          <a:pt x="1393840" y="509481"/>
                        </a:cubicBezTo>
                        <a:cubicBezTo>
                          <a:pt x="1374289" y="496318"/>
                          <a:pt x="1354738" y="516062"/>
                          <a:pt x="1348221" y="535807"/>
                        </a:cubicBezTo>
                        <a:cubicBezTo>
                          <a:pt x="1335187" y="548969"/>
                          <a:pt x="1328670" y="555550"/>
                          <a:pt x="1322154" y="575294"/>
                        </a:cubicBezTo>
                        <a:cubicBezTo>
                          <a:pt x="1315637" y="588459"/>
                          <a:pt x="1302603" y="608203"/>
                          <a:pt x="1322154" y="621365"/>
                        </a:cubicBezTo>
                        <a:cubicBezTo>
                          <a:pt x="1328670" y="627947"/>
                          <a:pt x="1335187" y="627947"/>
                          <a:pt x="1341705" y="641110"/>
                        </a:cubicBezTo>
                        <a:cubicBezTo>
                          <a:pt x="1348221" y="654273"/>
                          <a:pt x="1348221" y="667435"/>
                          <a:pt x="1361255" y="680598"/>
                        </a:cubicBezTo>
                        <a:cubicBezTo>
                          <a:pt x="1380806" y="693761"/>
                          <a:pt x="1393840" y="680598"/>
                          <a:pt x="1419908" y="680598"/>
                        </a:cubicBezTo>
                        <a:cubicBezTo>
                          <a:pt x="1426424" y="687180"/>
                          <a:pt x="1432941" y="687180"/>
                          <a:pt x="1439459" y="693761"/>
                        </a:cubicBezTo>
                        <a:cubicBezTo>
                          <a:pt x="1445975" y="693761"/>
                          <a:pt x="1452492" y="693761"/>
                          <a:pt x="1465526" y="700343"/>
                        </a:cubicBezTo>
                        <a:cubicBezTo>
                          <a:pt x="1472043" y="700343"/>
                          <a:pt x="1478559" y="700343"/>
                          <a:pt x="1485076" y="700343"/>
                        </a:cubicBezTo>
                        <a:cubicBezTo>
                          <a:pt x="1498110" y="700343"/>
                          <a:pt x="1504627" y="706924"/>
                          <a:pt x="1517661" y="706924"/>
                        </a:cubicBezTo>
                        <a:cubicBezTo>
                          <a:pt x="1530695" y="706924"/>
                          <a:pt x="1537211" y="693761"/>
                          <a:pt x="1550246" y="687180"/>
                        </a:cubicBezTo>
                        <a:cubicBezTo>
                          <a:pt x="1582830" y="680598"/>
                          <a:pt x="1615415" y="693761"/>
                          <a:pt x="1641483" y="700343"/>
                        </a:cubicBezTo>
                        <a:cubicBezTo>
                          <a:pt x="1687100" y="720087"/>
                          <a:pt x="1732719" y="766157"/>
                          <a:pt x="1739235" y="818809"/>
                        </a:cubicBezTo>
                        <a:cubicBezTo>
                          <a:pt x="1745753" y="845134"/>
                          <a:pt x="1732719" y="871460"/>
                          <a:pt x="1726202" y="891204"/>
                        </a:cubicBezTo>
                        <a:cubicBezTo>
                          <a:pt x="1726202" y="897785"/>
                          <a:pt x="1719686" y="910946"/>
                          <a:pt x="1719686" y="917530"/>
                        </a:cubicBezTo>
                        <a:cubicBezTo>
                          <a:pt x="1719739" y="917576"/>
                          <a:pt x="1726202" y="924130"/>
                          <a:pt x="1726202" y="930693"/>
                        </a:cubicBezTo>
                        <a:cubicBezTo>
                          <a:pt x="1726202" y="943855"/>
                          <a:pt x="1713168" y="957018"/>
                          <a:pt x="1700135" y="963600"/>
                        </a:cubicBezTo>
                        <a:cubicBezTo>
                          <a:pt x="1687100" y="970183"/>
                          <a:pt x="1661033" y="970183"/>
                          <a:pt x="1647999" y="970183"/>
                        </a:cubicBezTo>
                        <a:cubicBezTo>
                          <a:pt x="1634965" y="970183"/>
                          <a:pt x="1615415" y="963600"/>
                          <a:pt x="1602381" y="970183"/>
                        </a:cubicBezTo>
                        <a:cubicBezTo>
                          <a:pt x="1589347" y="983345"/>
                          <a:pt x="1602381" y="1009670"/>
                          <a:pt x="1615415" y="1016253"/>
                        </a:cubicBezTo>
                        <a:cubicBezTo>
                          <a:pt x="1641483" y="1035996"/>
                          <a:pt x="1687100" y="996508"/>
                          <a:pt x="1713168" y="1016253"/>
                        </a:cubicBezTo>
                        <a:cubicBezTo>
                          <a:pt x="1726202" y="1022834"/>
                          <a:pt x="1732719" y="1035996"/>
                          <a:pt x="1745753" y="1042578"/>
                        </a:cubicBezTo>
                        <a:cubicBezTo>
                          <a:pt x="1758786" y="1049159"/>
                          <a:pt x="1765304" y="1055740"/>
                          <a:pt x="1771821" y="1055740"/>
                        </a:cubicBezTo>
                        <a:cubicBezTo>
                          <a:pt x="1791372" y="1062322"/>
                          <a:pt x="1804405" y="1055740"/>
                          <a:pt x="1823956" y="1055740"/>
                        </a:cubicBezTo>
                        <a:cubicBezTo>
                          <a:pt x="1836989" y="1055740"/>
                          <a:pt x="1856540" y="1055740"/>
                          <a:pt x="1869575" y="1062322"/>
                        </a:cubicBezTo>
                        <a:cubicBezTo>
                          <a:pt x="1876091" y="1068904"/>
                          <a:pt x="1889124" y="1068904"/>
                          <a:pt x="1902159" y="1075485"/>
                        </a:cubicBezTo>
                        <a:cubicBezTo>
                          <a:pt x="1908675" y="1075485"/>
                          <a:pt x="1915192" y="1075485"/>
                          <a:pt x="1915192" y="1062322"/>
                        </a:cubicBezTo>
                        <a:cubicBezTo>
                          <a:pt x="1915192" y="1055740"/>
                          <a:pt x="1902159" y="1055740"/>
                          <a:pt x="1895642" y="1049159"/>
                        </a:cubicBezTo>
                        <a:cubicBezTo>
                          <a:pt x="1882608" y="1042578"/>
                          <a:pt x="1843507" y="1035996"/>
                          <a:pt x="1850024" y="1016253"/>
                        </a:cubicBezTo>
                        <a:cubicBezTo>
                          <a:pt x="1856540" y="1003089"/>
                          <a:pt x="1869575" y="1009670"/>
                          <a:pt x="1882608" y="1009670"/>
                        </a:cubicBezTo>
                        <a:cubicBezTo>
                          <a:pt x="1895642" y="1009670"/>
                          <a:pt x="1902159" y="1003089"/>
                          <a:pt x="1915192" y="1003089"/>
                        </a:cubicBezTo>
                        <a:cubicBezTo>
                          <a:pt x="1928226" y="996508"/>
                          <a:pt x="1941261" y="996508"/>
                          <a:pt x="1941261" y="983345"/>
                        </a:cubicBezTo>
                        <a:cubicBezTo>
                          <a:pt x="1941261" y="970183"/>
                          <a:pt x="1928226" y="957018"/>
                          <a:pt x="1921710" y="950437"/>
                        </a:cubicBezTo>
                        <a:cubicBezTo>
                          <a:pt x="1902159" y="943855"/>
                          <a:pt x="1869575" y="917530"/>
                          <a:pt x="1882608" y="891204"/>
                        </a:cubicBezTo>
                        <a:cubicBezTo>
                          <a:pt x="1889124" y="878042"/>
                          <a:pt x="1928226" y="891204"/>
                          <a:pt x="1941261" y="897786"/>
                        </a:cubicBezTo>
                        <a:cubicBezTo>
                          <a:pt x="1954294" y="910949"/>
                          <a:pt x="1973845" y="930693"/>
                          <a:pt x="1993396" y="930693"/>
                        </a:cubicBezTo>
                        <a:cubicBezTo>
                          <a:pt x="2019463" y="930693"/>
                          <a:pt x="2039013" y="904368"/>
                          <a:pt x="2045531" y="878042"/>
                        </a:cubicBezTo>
                        <a:cubicBezTo>
                          <a:pt x="2058564" y="851716"/>
                          <a:pt x="2039013" y="838553"/>
                          <a:pt x="2012946" y="838553"/>
                        </a:cubicBezTo>
                        <a:cubicBezTo>
                          <a:pt x="1993396" y="838553"/>
                          <a:pt x="1973845" y="838553"/>
                          <a:pt x="1947777" y="825390"/>
                        </a:cubicBezTo>
                        <a:cubicBezTo>
                          <a:pt x="1928226" y="818809"/>
                          <a:pt x="1908675" y="812228"/>
                          <a:pt x="1889124" y="799065"/>
                        </a:cubicBezTo>
                        <a:cubicBezTo>
                          <a:pt x="1869575" y="772738"/>
                          <a:pt x="1863057" y="739832"/>
                          <a:pt x="1850024" y="713505"/>
                        </a:cubicBezTo>
                        <a:cubicBezTo>
                          <a:pt x="1843507" y="693761"/>
                          <a:pt x="1830473" y="674017"/>
                          <a:pt x="1817439" y="660854"/>
                        </a:cubicBezTo>
                        <a:cubicBezTo>
                          <a:pt x="1804405" y="654273"/>
                          <a:pt x="1791372" y="647691"/>
                          <a:pt x="1778337" y="647691"/>
                        </a:cubicBezTo>
                        <a:cubicBezTo>
                          <a:pt x="1771821" y="641110"/>
                          <a:pt x="1765304" y="641110"/>
                          <a:pt x="1758786" y="641110"/>
                        </a:cubicBezTo>
                        <a:cubicBezTo>
                          <a:pt x="1758771" y="641094"/>
                          <a:pt x="1752340" y="634598"/>
                          <a:pt x="1752270" y="634529"/>
                        </a:cubicBezTo>
                        <a:cubicBezTo>
                          <a:pt x="1739235" y="627947"/>
                          <a:pt x="1732719" y="614784"/>
                          <a:pt x="1719686" y="595040"/>
                        </a:cubicBezTo>
                        <a:cubicBezTo>
                          <a:pt x="1706651" y="581877"/>
                          <a:pt x="1687100" y="581877"/>
                          <a:pt x="1674067" y="581877"/>
                        </a:cubicBezTo>
                        <a:cubicBezTo>
                          <a:pt x="1647999" y="575294"/>
                          <a:pt x="1576313" y="575294"/>
                          <a:pt x="1602381" y="535807"/>
                        </a:cubicBezTo>
                        <a:cubicBezTo>
                          <a:pt x="1608897" y="529225"/>
                          <a:pt x="1615415" y="522643"/>
                          <a:pt x="1615415" y="516062"/>
                        </a:cubicBezTo>
                        <a:cubicBezTo>
                          <a:pt x="1615415" y="506190"/>
                          <a:pt x="1608897" y="502899"/>
                          <a:pt x="1600752" y="502077"/>
                        </a:cubicBezTo>
                        <a:close/>
                        <a:moveTo>
                          <a:pt x="1473191" y="450839"/>
                        </a:moveTo>
                        <a:cubicBezTo>
                          <a:pt x="1479728" y="450839"/>
                          <a:pt x="1486265" y="463833"/>
                          <a:pt x="1492801" y="463833"/>
                        </a:cubicBezTo>
                        <a:cubicBezTo>
                          <a:pt x="1510749" y="469779"/>
                          <a:pt x="1545118" y="464841"/>
                          <a:pt x="1555152" y="453328"/>
                        </a:cubicBezTo>
                        <a:cubicBezTo>
                          <a:pt x="1817156" y="581451"/>
                          <a:pt x="2046164" y="732868"/>
                          <a:pt x="2248392" y="896876"/>
                        </a:cubicBezTo>
                        <a:cubicBezTo>
                          <a:pt x="2248144" y="897469"/>
                          <a:pt x="2248144" y="898130"/>
                          <a:pt x="2248144" y="898876"/>
                        </a:cubicBezTo>
                        <a:cubicBezTo>
                          <a:pt x="2248144" y="918596"/>
                          <a:pt x="2267685" y="925168"/>
                          <a:pt x="2274200" y="938315"/>
                        </a:cubicBezTo>
                        <a:cubicBezTo>
                          <a:pt x="2274200" y="944888"/>
                          <a:pt x="2274200" y="951461"/>
                          <a:pt x="2280713" y="958035"/>
                        </a:cubicBezTo>
                        <a:cubicBezTo>
                          <a:pt x="2287228" y="971181"/>
                          <a:pt x="2287228" y="964607"/>
                          <a:pt x="2300255" y="971181"/>
                        </a:cubicBezTo>
                        <a:cubicBezTo>
                          <a:pt x="2303512" y="971181"/>
                          <a:pt x="2306769" y="971181"/>
                          <a:pt x="2308398" y="972824"/>
                        </a:cubicBezTo>
                        <a:lnTo>
                          <a:pt x="2306769" y="984327"/>
                        </a:lnTo>
                        <a:cubicBezTo>
                          <a:pt x="2306769" y="990901"/>
                          <a:pt x="2293741" y="984327"/>
                          <a:pt x="2293741" y="997473"/>
                        </a:cubicBezTo>
                        <a:cubicBezTo>
                          <a:pt x="2293741" y="1004030"/>
                          <a:pt x="2306702" y="1017125"/>
                          <a:pt x="2306769" y="1017193"/>
                        </a:cubicBezTo>
                        <a:cubicBezTo>
                          <a:pt x="2313243" y="1023726"/>
                          <a:pt x="2319717" y="1023766"/>
                          <a:pt x="2319797" y="1023766"/>
                        </a:cubicBezTo>
                        <a:cubicBezTo>
                          <a:pt x="2326311" y="1030340"/>
                          <a:pt x="2319797" y="1043486"/>
                          <a:pt x="2326311" y="1043486"/>
                        </a:cubicBezTo>
                        <a:cubicBezTo>
                          <a:pt x="2332825" y="1063206"/>
                          <a:pt x="2345853" y="1056632"/>
                          <a:pt x="2358880" y="1063206"/>
                        </a:cubicBezTo>
                        <a:cubicBezTo>
                          <a:pt x="2371908" y="1063206"/>
                          <a:pt x="2371908" y="1082924"/>
                          <a:pt x="2378423" y="1089497"/>
                        </a:cubicBezTo>
                        <a:cubicBezTo>
                          <a:pt x="2384936" y="1109216"/>
                          <a:pt x="2397964" y="1122362"/>
                          <a:pt x="2417506" y="1122362"/>
                        </a:cubicBezTo>
                        <a:cubicBezTo>
                          <a:pt x="2430534" y="1122362"/>
                          <a:pt x="2430534" y="1115790"/>
                          <a:pt x="2443561" y="1122362"/>
                        </a:cubicBezTo>
                        <a:cubicBezTo>
                          <a:pt x="2456589" y="1128936"/>
                          <a:pt x="2463104" y="1135510"/>
                          <a:pt x="2476131" y="1148656"/>
                        </a:cubicBezTo>
                        <a:cubicBezTo>
                          <a:pt x="2482645" y="1155228"/>
                          <a:pt x="2495673" y="1161802"/>
                          <a:pt x="2502187" y="1161802"/>
                        </a:cubicBezTo>
                        <a:cubicBezTo>
                          <a:pt x="2508701" y="1155228"/>
                          <a:pt x="2508701" y="1148656"/>
                          <a:pt x="2508701" y="1142082"/>
                        </a:cubicBezTo>
                        <a:lnTo>
                          <a:pt x="2517444" y="1133259"/>
                        </a:lnTo>
                        <a:lnTo>
                          <a:pt x="2564596" y="1177954"/>
                        </a:lnTo>
                        <a:cubicBezTo>
                          <a:pt x="2487464" y="1268743"/>
                          <a:pt x="2413642" y="1360723"/>
                          <a:pt x="2344538" y="1453727"/>
                        </a:cubicBezTo>
                        <a:cubicBezTo>
                          <a:pt x="2244363" y="1415184"/>
                          <a:pt x="2144762" y="1379803"/>
                          <a:pt x="2046472" y="1347605"/>
                        </a:cubicBezTo>
                        <a:cubicBezTo>
                          <a:pt x="2046472" y="1342893"/>
                          <a:pt x="2046472" y="1338182"/>
                          <a:pt x="2046472" y="1333470"/>
                        </a:cubicBezTo>
                        <a:cubicBezTo>
                          <a:pt x="2039956" y="1320318"/>
                          <a:pt x="2033439" y="1313742"/>
                          <a:pt x="2033439" y="1307166"/>
                        </a:cubicBezTo>
                        <a:cubicBezTo>
                          <a:pt x="2033439" y="1294015"/>
                          <a:pt x="2033439" y="1287439"/>
                          <a:pt x="2026921" y="1274286"/>
                        </a:cubicBezTo>
                        <a:cubicBezTo>
                          <a:pt x="2026921" y="1261135"/>
                          <a:pt x="2026921" y="1254559"/>
                          <a:pt x="2020405" y="1247984"/>
                        </a:cubicBezTo>
                        <a:cubicBezTo>
                          <a:pt x="2013888" y="1234831"/>
                          <a:pt x="1994337" y="1228255"/>
                          <a:pt x="1987819" y="1215104"/>
                        </a:cubicBezTo>
                        <a:cubicBezTo>
                          <a:pt x="1974786" y="1201951"/>
                          <a:pt x="1981303" y="1195376"/>
                          <a:pt x="1974786" y="1182224"/>
                        </a:cubicBezTo>
                        <a:cubicBezTo>
                          <a:pt x="1968268" y="1169073"/>
                          <a:pt x="1955235" y="1155920"/>
                          <a:pt x="1942201" y="1169073"/>
                        </a:cubicBezTo>
                        <a:cubicBezTo>
                          <a:pt x="1935684" y="1175648"/>
                          <a:pt x="1929166" y="1188800"/>
                          <a:pt x="1922650" y="1195376"/>
                        </a:cubicBezTo>
                        <a:cubicBezTo>
                          <a:pt x="1909616" y="1215104"/>
                          <a:pt x="1883548" y="1215104"/>
                          <a:pt x="1863997" y="1208528"/>
                        </a:cubicBezTo>
                        <a:cubicBezTo>
                          <a:pt x="1844446" y="1201951"/>
                          <a:pt x="1831412" y="1182224"/>
                          <a:pt x="1824895" y="1162496"/>
                        </a:cubicBezTo>
                        <a:cubicBezTo>
                          <a:pt x="1824895" y="1142769"/>
                          <a:pt x="1824895" y="1123040"/>
                          <a:pt x="1805344" y="1109889"/>
                        </a:cubicBezTo>
                        <a:cubicBezTo>
                          <a:pt x="1792310" y="1096738"/>
                          <a:pt x="1772759" y="1090162"/>
                          <a:pt x="1753208" y="1077009"/>
                        </a:cubicBezTo>
                        <a:cubicBezTo>
                          <a:pt x="1746691" y="1063858"/>
                          <a:pt x="1733657" y="1050706"/>
                          <a:pt x="1720624" y="1044130"/>
                        </a:cubicBezTo>
                        <a:cubicBezTo>
                          <a:pt x="1701072" y="1044130"/>
                          <a:pt x="1681521" y="1050706"/>
                          <a:pt x="1668487" y="1063858"/>
                        </a:cubicBezTo>
                        <a:cubicBezTo>
                          <a:pt x="1655453" y="1070434"/>
                          <a:pt x="1635902" y="1063858"/>
                          <a:pt x="1622868" y="1070434"/>
                        </a:cubicBezTo>
                        <a:cubicBezTo>
                          <a:pt x="1596800" y="1077009"/>
                          <a:pt x="1616351" y="1109889"/>
                          <a:pt x="1609834" y="1129617"/>
                        </a:cubicBezTo>
                        <a:cubicBezTo>
                          <a:pt x="1609834" y="1136193"/>
                          <a:pt x="1603317" y="1136193"/>
                          <a:pt x="1603317" y="1142769"/>
                        </a:cubicBezTo>
                        <a:cubicBezTo>
                          <a:pt x="1609834" y="1149344"/>
                          <a:pt x="1609834" y="1149344"/>
                          <a:pt x="1616351" y="1155920"/>
                        </a:cubicBezTo>
                        <a:cubicBezTo>
                          <a:pt x="1616351" y="1162496"/>
                          <a:pt x="1609834" y="1175648"/>
                          <a:pt x="1603317" y="1182224"/>
                        </a:cubicBezTo>
                        <a:cubicBezTo>
                          <a:pt x="1598146" y="1187442"/>
                          <a:pt x="1584769" y="1192660"/>
                          <a:pt x="1581417" y="1202381"/>
                        </a:cubicBezTo>
                        <a:cubicBezTo>
                          <a:pt x="1448623" y="1163631"/>
                          <a:pt x="1321528" y="1130745"/>
                          <a:pt x="1202361" y="1103854"/>
                        </a:cubicBezTo>
                        <a:cubicBezTo>
                          <a:pt x="1209628" y="1093304"/>
                          <a:pt x="1215701" y="1088445"/>
                          <a:pt x="1225332" y="1083585"/>
                        </a:cubicBezTo>
                        <a:cubicBezTo>
                          <a:pt x="1238365" y="1077009"/>
                          <a:pt x="1244883" y="1063858"/>
                          <a:pt x="1257916" y="1057282"/>
                        </a:cubicBezTo>
                        <a:cubicBezTo>
                          <a:pt x="1264434" y="1044130"/>
                          <a:pt x="1264434" y="1030978"/>
                          <a:pt x="1270950" y="1024402"/>
                        </a:cubicBezTo>
                        <a:cubicBezTo>
                          <a:pt x="1277467" y="1017827"/>
                          <a:pt x="1283985" y="1017827"/>
                          <a:pt x="1290501" y="1011251"/>
                        </a:cubicBezTo>
                        <a:cubicBezTo>
                          <a:pt x="1303536" y="1004674"/>
                          <a:pt x="1323086" y="998098"/>
                          <a:pt x="1342637" y="991523"/>
                        </a:cubicBezTo>
                        <a:cubicBezTo>
                          <a:pt x="1349154" y="984947"/>
                          <a:pt x="1355672" y="984947"/>
                          <a:pt x="1355672" y="978371"/>
                        </a:cubicBezTo>
                        <a:cubicBezTo>
                          <a:pt x="1355672" y="971796"/>
                          <a:pt x="1349154" y="958643"/>
                          <a:pt x="1349154" y="952067"/>
                        </a:cubicBezTo>
                        <a:cubicBezTo>
                          <a:pt x="1336121" y="945492"/>
                          <a:pt x="1329603" y="945492"/>
                          <a:pt x="1316569" y="945492"/>
                        </a:cubicBezTo>
                        <a:cubicBezTo>
                          <a:pt x="1310052" y="945492"/>
                          <a:pt x="1283985" y="945492"/>
                          <a:pt x="1290501" y="925763"/>
                        </a:cubicBezTo>
                        <a:cubicBezTo>
                          <a:pt x="1297018" y="912612"/>
                          <a:pt x="1323084" y="919188"/>
                          <a:pt x="1336121" y="919188"/>
                        </a:cubicBezTo>
                        <a:cubicBezTo>
                          <a:pt x="1342637" y="925763"/>
                          <a:pt x="1355672" y="932340"/>
                          <a:pt x="1368705" y="932340"/>
                        </a:cubicBezTo>
                        <a:cubicBezTo>
                          <a:pt x="1388256" y="925763"/>
                          <a:pt x="1381739" y="899460"/>
                          <a:pt x="1401290" y="892884"/>
                        </a:cubicBezTo>
                        <a:cubicBezTo>
                          <a:pt x="1414325" y="892885"/>
                          <a:pt x="1414325" y="892885"/>
                          <a:pt x="1427358" y="899460"/>
                        </a:cubicBezTo>
                        <a:cubicBezTo>
                          <a:pt x="1440392" y="906036"/>
                          <a:pt x="1466460" y="886308"/>
                          <a:pt x="1479494" y="879732"/>
                        </a:cubicBezTo>
                        <a:cubicBezTo>
                          <a:pt x="1499045" y="873156"/>
                          <a:pt x="1512079" y="866581"/>
                          <a:pt x="1531630" y="866581"/>
                        </a:cubicBezTo>
                        <a:cubicBezTo>
                          <a:pt x="1544664" y="860005"/>
                          <a:pt x="1551181" y="853429"/>
                          <a:pt x="1544664" y="840278"/>
                        </a:cubicBezTo>
                        <a:cubicBezTo>
                          <a:pt x="1544664" y="820551"/>
                          <a:pt x="1531630" y="820551"/>
                          <a:pt x="1518596" y="807398"/>
                        </a:cubicBezTo>
                        <a:cubicBezTo>
                          <a:pt x="1518596" y="800851"/>
                          <a:pt x="1518596" y="794305"/>
                          <a:pt x="1518596" y="794247"/>
                        </a:cubicBezTo>
                        <a:cubicBezTo>
                          <a:pt x="1518596" y="781095"/>
                          <a:pt x="1512079" y="774518"/>
                          <a:pt x="1518596" y="767943"/>
                        </a:cubicBezTo>
                        <a:cubicBezTo>
                          <a:pt x="1518596" y="761367"/>
                          <a:pt x="1525113" y="754791"/>
                          <a:pt x="1518596" y="748216"/>
                        </a:cubicBezTo>
                        <a:cubicBezTo>
                          <a:pt x="1518596" y="741640"/>
                          <a:pt x="1505562" y="741640"/>
                          <a:pt x="1499045" y="735063"/>
                        </a:cubicBezTo>
                        <a:cubicBezTo>
                          <a:pt x="1492529" y="728487"/>
                          <a:pt x="1492529" y="721912"/>
                          <a:pt x="1479494" y="721912"/>
                        </a:cubicBezTo>
                        <a:cubicBezTo>
                          <a:pt x="1466460" y="715336"/>
                          <a:pt x="1453427" y="715336"/>
                          <a:pt x="1440392" y="721912"/>
                        </a:cubicBezTo>
                        <a:cubicBezTo>
                          <a:pt x="1427358" y="721912"/>
                          <a:pt x="1420841" y="728487"/>
                          <a:pt x="1427358" y="741640"/>
                        </a:cubicBezTo>
                        <a:cubicBezTo>
                          <a:pt x="1427358" y="748216"/>
                          <a:pt x="1446909" y="754791"/>
                          <a:pt x="1440392" y="767943"/>
                        </a:cubicBezTo>
                        <a:cubicBezTo>
                          <a:pt x="1433907" y="767943"/>
                          <a:pt x="1427420" y="767943"/>
                          <a:pt x="1427358" y="767943"/>
                        </a:cubicBezTo>
                        <a:cubicBezTo>
                          <a:pt x="1420841" y="767943"/>
                          <a:pt x="1420841" y="774518"/>
                          <a:pt x="1414325" y="781095"/>
                        </a:cubicBezTo>
                        <a:cubicBezTo>
                          <a:pt x="1414325" y="787671"/>
                          <a:pt x="1420841" y="794247"/>
                          <a:pt x="1414325" y="800822"/>
                        </a:cubicBezTo>
                        <a:cubicBezTo>
                          <a:pt x="1414325" y="807398"/>
                          <a:pt x="1414325" y="813975"/>
                          <a:pt x="1407807" y="813975"/>
                        </a:cubicBezTo>
                        <a:cubicBezTo>
                          <a:pt x="1401290" y="827126"/>
                          <a:pt x="1388256" y="846853"/>
                          <a:pt x="1375223" y="846853"/>
                        </a:cubicBezTo>
                        <a:cubicBezTo>
                          <a:pt x="1362188" y="846853"/>
                          <a:pt x="1355672" y="840278"/>
                          <a:pt x="1355672" y="827126"/>
                        </a:cubicBezTo>
                        <a:cubicBezTo>
                          <a:pt x="1342637" y="807398"/>
                          <a:pt x="1349154" y="787671"/>
                          <a:pt x="1349154" y="767943"/>
                        </a:cubicBezTo>
                        <a:cubicBezTo>
                          <a:pt x="1349154" y="754791"/>
                          <a:pt x="1336121" y="735063"/>
                          <a:pt x="1323086" y="748216"/>
                        </a:cubicBezTo>
                        <a:cubicBezTo>
                          <a:pt x="1310052" y="754791"/>
                          <a:pt x="1323086" y="800822"/>
                          <a:pt x="1297019" y="787671"/>
                        </a:cubicBezTo>
                        <a:cubicBezTo>
                          <a:pt x="1290501" y="781095"/>
                          <a:pt x="1290501" y="774518"/>
                          <a:pt x="1283985" y="767943"/>
                        </a:cubicBezTo>
                        <a:cubicBezTo>
                          <a:pt x="1283985" y="754791"/>
                          <a:pt x="1283985" y="748216"/>
                          <a:pt x="1270950" y="741640"/>
                        </a:cubicBezTo>
                        <a:cubicBezTo>
                          <a:pt x="1257916" y="741640"/>
                          <a:pt x="1251399" y="728487"/>
                          <a:pt x="1251399" y="721912"/>
                        </a:cubicBezTo>
                        <a:cubicBezTo>
                          <a:pt x="1244883" y="715336"/>
                          <a:pt x="1244883" y="715336"/>
                          <a:pt x="1244883" y="708760"/>
                        </a:cubicBezTo>
                        <a:cubicBezTo>
                          <a:pt x="1244883" y="702230"/>
                          <a:pt x="1251308" y="695700"/>
                          <a:pt x="1251399" y="695608"/>
                        </a:cubicBezTo>
                        <a:cubicBezTo>
                          <a:pt x="1251399" y="689032"/>
                          <a:pt x="1244883" y="695608"/>
                          <a:pt x="1238365" y="689032"/>
                        </a:cubicBezTo>
                        <a:cubicBezTo>
                          <a:pt x="1238365" y="688966"/>
                          <a:pt x="1238407" y="682456"/>
                          <a:pt x="1244883" y="682456"/>
                        </a:cubicBezTo>
                        <a:cubicBezTo>
                          <a:pt x="1244916" y="682490"/>
                          <a:pt x="1251416" y="689018"/>
                          <a:pt x="1257916" y="682456"/>
                        </a:cubicBezTo>
                        <a:cubicBezTo>
                          <a:pt x="1264434" y="675880"/>
                          <a:pt x="1264434" y="669305"/>
                          <a:pt x="1257916" y="662728"/>
                        </a:cubicBezTo>
                        <a:cubicBezTo>
                          <a:pt x="1251399" y="656152"/>
                          <a:pt x="1238365" y="656152"/>
                          <a:pt x="1225332" y="649576"/>
                        </a:cubicBezTo>
                        <a:cubicBezTo>
                          <a:pt x="1218814" y="643001"/>
                          <a:pt x="1212297" y="636425"/>
                          <a:pt x="1199263" y="629849"/>
                        </a:cubicBezTo>
                        <a:lnTo>
                          <a:pt x="1191096" y="619842"/>
                        </a:lnTo>
                        <a:cubicBezTo>
                          <a:pt x="1266574" y="560992"/>
                          <a:pt x="1346933" y="508634"/>
                          <a:pt x="1431148" y="462521"/>
                        </a:cubicBezTo>
                        <a:cubicBezTo>
                          <a:pt x="1436385" y="465947"/>
                          <a:pt x="1443536" y="466330"/>
                          <a:pt x="1453581" y="463833"/>
                        </a:cubicBezTo>
                        <a:cubicBezTo>
                          <a:pt x="1460118" y="457335"/>
                          <a:pt x="1466655" y="450839"/>
                          <a:pt x="1473191" y="450839"/>
                        </a:cubicBezTo>
                        <a:close/>
                        <a:moveTo>
                          <a:pt x="1777745" y="298724"/>
                        </a:moveTo>
                        <a:cubicBezTo>
                          <a:pt x="1779996" y="305951"/>
                          <a:pt x="1785271" y="311547"/>
                          <a:pt x="1792168" y="313867"/>
                        </a:cubicBezTo>
                        <a:cubicBezTo>
                          <a:pt x="1811710" y="327013"/>
                          <a:pt x="1831252" y="320441"/>
                          <a:pt x="1844279" y="313867"/>
                        </a:cubicBezTo>
                        <a:cubicBezTo>
                          <a:pt x="1850794" y="307294"/>
                          <a:pt x="1857307" y="307294"/>
                          <a:pt x="1863822" y="307294"/>
                        </a:cubicBezTo>
                        <a:cubicBezTo>
                          <a:pt x="1870335" y="307294"/>
                          <a:pt x="1883363" y="307294"/>
                          <a:pt x="1889878" y="307294"/>
                        </a:cubicBezTo>
                        <a:cubicBezTo>
                          <a:pt x="1896391" y="307294"/>
                          <a:pt x="1909419" y="313867"/>
                          <a:pt x="1902904" y="320441"/>
                        </a:cubicBezTo>
                        <a:cubicBezTo>
                          <a:pt x="1902904" y="340158"/>
                          <a:pt x="1863822" y="327013"/>
                          <a:pt x="1850794" y="333587"/>
                        </a:cubicBezTo>
                        <a:cubicBezTo>
                          <a:pt x="1831252" y="333587"/>
                          <a:pt x="1805196" y="333587"/>
                          <a:pt x="1792168" y="353306"/>
                        </a:cubicBezTo>
                        <a:cubicBezTo>
                          <a:pt x="1785655" y="366452"/>
                          <a:pt x="1798682" y="379598"/>
                          <a:pt x="1811710" y="386171"/>
                        </a:cubicBezTo>
                        <a:cubicBezTo>
                          <a:pt x="1824738" y="392744"/>
                          <a:pt x="1837766" y="399317"/>
                          <a:pt x="1857307" y="399317"/>
                        </a:cubicBezTo>
                        <a:cubicBezTo>
                          <a:pt x="1870335" y="392744"/>
                          <a:pt x="1883363" y="379598"/>
                          <a:pt x="1896391" y="373025"/>
                        </a:cubicBezTo>
                        <a:cubicBezTo>
                          <a:pt x="1941988" y="359878"/>
                          <a:pt x="1994100" y="373025"/>
                          <a:pt x="2033183" y="386171"/>
                        </a:cubicBezTo>
                        <a:cubicBezTo>
                          <a:pt x="2052726" y="392744"/>
                          <a:pt x="2072267" y="399317"/>
                          <a:pt x="2085295" y="412464"/>
                        </a:cubicBezTo>
                        <a:cubicBezTo>
                          <a:pt x="2104837" y="419037"/>
                          <a:pt x="2117865" y="432183"/>
                          <a:pt x="2130893" y="438757"/>
                        </a:cubicBezTo>
                        <a:cubicBezTo>
                          <a:pt x="2150434" y="451903"/>
                          <a:pt x="2163462" y="471622"/>
                          <a:pt x="2176490" y="491342"/>
                        </a:cubicBezTo>
                        <a:cubicBezTo>
                          <a:pt x="2189518" y="517634"/>
                          <a:pt x="2215574" y="543926"/>
                          <a:pt x="2202546" y="576792"/>
                        </a:cubicBezTo>
                        <a:cubicBezTo>
                          <a:pt x="2196032" y="583366"/>
                          <a:pt x="2189518" y="583366"/>
                          <a:pt x="2189518" y="589938"/>
                        </a:cubicBezTo>
                        <a:cubicBezTo>
                          <a:pt x="2189518" y="609658"/>
                          <a:pt x="2202546" y="609658"/>
                          <a:pt x="2215574" y="609658"/>
                        </a:cubicBezTo>
                        <a:cubicBezTo>
                          <a:pt x="2241629" y="609658"/>
                          <a:pt x="2280713" y="609658"/>
                          <a:pt x="2293741" y="635951"/>
                        </a:cubicBezTo>
                        <a:cubicBezTo>
                          <a:pt x="2293741" y="649097"/>
                          <a:pt x="2293741" y="662243"/>
                          <a:pt x="2287228" y="662243"/>
                        </a:cubicBezTo>
                        <a:cubicBezTo>
                          <a:pt x="2274200" y="668817"/>
                          <a:pt x="2261172" y="655671"/>
                          <a:pt x="2254657" y="655671"/>
                        </a:cubicBezTo>
                        <a:cubicBezTo>
                          <a:pt x="2241629" y="655671"/>
                          <a:pt x="2215574" y="649097"/>
                          <a:pt x="2209060" y="662243"/>
                        </a:cubicBezTo>
                        <a:cubicBezTo>
                          <a:pt x="2202546" y="675389"/>
                          <a:pt x="2215574" y="675389"/>
                          <a:pt x="2222088" y="681963"/>
                        </a:cubicBezTo>
                        <a:cubicBezTo>
                          <a:pt x="2228602" y="681963"/>
                          <a:pt x="2228602" y="688537"/>
                          <a:pt x="2235116" y="695109"/>
                        </a:cubicBezTo>
                        <a:cubicBezTo>
                          <a:pt x="2234979" y="695149"/>
                          <a:pt x="2209060" y="701698"/>
                          <a:pt x="2209060" y="708255"/>
                        </a:cubicBezTo>
                        <a:cubicBezTo>
                          <a:pt x="2209060" y="721401"/>
                          <a:pt x="2222088" y="721401"/>
                          <a:pt x="2222088" y="734547"/>
                        </a:cubicBezTo>
                        <a:cubicBezTo>
                          <a:pt x="2228602" y="741121"/>
                          <a:pt x="2215574" y="741121"/>
                          <a:pt x="2215574" y="754267"/>
                        </a:cubicBezTo>
                        <a:cubicBezTo>
                          <a:pt x="2215574" y="760841"/>
                          <a:pt x="2235116" y="767413"/>
                          <a:pt x="2241629" y="767413"/>
                        </a:cubicBezTo>
                        <a:cubicBezTo>
                          <a:pt x="2280713" y="760841"/>
                          <a:pt x="2241629" y="714828"/>
                          <a:pt x="2254657" y="701682"/>
                        </a:cubicBezTo>
                        <a:cubicBezTo>
                          <a:pt x="2274200" y="681963"/>
                          <a:pt x="2332825" y="708255"/>
                          <a:pt x="2345853" y="714828"/>
                        </a:cubicBezTo>
                        <a:cubicBezTo>
                          <a:pt x="2365395" y="721401"/>
                          <a:pt x="2365395" y="741121"/>
                          <a:pt x="2352367" y="754267"/>
                        </a:cubicBezTo>
                        <a:cubicBezTo>
                          <a:pt x="2339339" y="767413"/>
                          <a:pt x="2326311" y="767413"/>
                          <a:pt x="2319797" y="787133"/>
                        </a:cubicBezTo>
                        <a:cubicBezTo>
                          <a:pt x="2319797" y="800280"/>
                          <a:pt x="2313283" y="806852"/>
                          <a:pt x="2306769" y="813426"/>
                        </a:cubicBezTo>
                        <a:cubicBezTo>
                          <a:pt x="2287228" y="819998"/>
                          <a:pt x="2274200" y="813426"/>
                          <a:pt x="2261172" y="819998"/>
                        </a:cubicBezTo>
                        <a:cubicBezTo>
                          <a:pt x="2254657" y="819998"/>
                          <a:pt x="2248144" y="826572"/>
                          <a:pt x="2241629" y="833146"/>
                        </a:cubicBezTo>
                        <a:cubicBezTo>
                          <a:pt x="2241629" y="846292"/>
                          <a:pt x="2248144" y="846292"/>
                          <a:pt x="2254657" y="852865"/>
                        </a:cubicBezTo>
                        <a:lnTo>
                          <a:pt x="2254657" y="854402"/>
                        </a:lnTo>
                        <a:cubicBezTo>
                          <a:pt x="2030443" y="673237"/>
                          <a:pt x="1790845" y="523986"/>
                          <a:pt x="1532172" y="408254"/>
                        </a:cubicBezTo>
                        <a:lnTo>
                          <a:pt x="1563400" y="393072"/>
                        </a:lnTo>
                        <a:cubicBezTo>
                          <a:pt x="1563537" y="393150"/>
                          <a:pt x="1563677" y="393221"/>
                          <a:pt x="1563818" y="393292"/>
                        </a:cubicBezTo>
                        <a:lnTo>
                          <a:pt x="1571320" y="389221"/>
                        </a:lnTo>
                        <a:cubicBezTo>
                          <a:pt x="1637311" y="353400"/>
                          <a:pt x="1706271" y="323188"/>
                          <a:pt x="1777745" y="298724"/>
                        </a:cubicBezTo>
                        <a:close/>
                        <a:moveTo>
                          <a:pt x="3557306" y="287696"/>
                        </a:moveTo>
                        <a:cubicBezTo>
                          <a:pt x="3811168" y="380958"/>
                          <a:pt x="4045360" y="515441"/>
                          <a:pt x="4252506" y="682887"/>
                        </a:cubicBezTo>
                        <a:cubicBezTo>
                          <a:pt x="4246666" y="683314"/>
                          <a:pt x="4240452" y="680970"/>
                          <a:pt x="4236562" y="680970"/>
                        </a:cubicBezTo>
                        <a:cubicBezTo>
                          <a:pt x="4197447" y="674391"/>
                          <a:pt x="4217004" y="713866"/>
                          <a:pt x="4184408" y="727024"/>
                        </a:cubicBezTo>
                        <a:cubicBezTo>
                          <a:pt x="4164851" y="733603"/>
                          <a:pt x="4119217" y="727024"/>
                          <a:pt x="4112698" y="759919"/>
                        </a:cubicBezTo>
                        <a:cubicBezTo>
                          <a:pt x="4112698" y="766499"/>
                          <a:pt x="4112698" y="779657"/>
                          <a:pt x="4106180" y="786235"/>
                        </a:cubicBezTo>
                        <a:cubicBezTo>
                          <a:pt x="4099661" y="799393"/>
                          <a:pt x="4086622" y="792814"/>
                          <a:pt x="4073584" y="792814"/>
                        </a:cubicBezTo>
                        <a:cubicBezTo>
                          <a:pt x="4067065" y="805972"/>
                          <a:pt x="4080103" y="805972"/>
                          <a:pt x="4086622" y="812551"/>
                        </a:cubicBezTo>
                        <a:cubicBezTo>
                          <a:pt x="4093141" y="838867"/>
                          <a:pt x="4073584" y="825709"/>
                          <a:pt x="4060546" y="832288"/>
                        </a:cubicBezTo>
                        <a:cubicBezTo>
                          <a:pt x="4047507" y="838867"/>
                          <a:pt x="4060546" y="845447"/>
                          <a:pt x="4060546" y="852027"/>
                        </a:cubicBezTo>
                        <a:cubicBezTo>
                          <a:pt x="4060546" y="878343"/>
                          <a:pt x="4034470" y="858606"/>
                          <a:pt x="4021431" y="858606"/>
                        </a:cubicBezTo>
                        <a:cubicBezTo>
                          <a:pt x="3982316" y="858606"/>
                          <a:pt x="4034469" y="904657"/>
                          <a:pt x="4027950" y="911238"/>
                        </a:cubicBezTo>
                        <a:cubicBezTo>
                          <a:pt x="4008392" y="930976"/>
                          <a:pt x="3988835" y="891501"/>
                          <a:pt x="3969279" y="917817"/>
                        </a:cubicBezTo>
                        <a:cubicBezTo>
                          <a:pt x="3962759" y="930976"/>
                          <a:pt x="3956240" y="950712"/>
                          <a:pt x="3943201" y="963870"/>
                        </a:cubicBezTo>
                        <a:cubicBezTo>
                          <a:pt x="3938313" y="973739"/>
                          <a:pt x="3922422" y="976206"/>
                          <a:pt x="3925783" y="982374"/>
                        </a:cubicBezTo>
                        <a:lnTo>
                          <a:pt x="3936683" y="990186"/>
                        </a:lnTo>
                        <a:cubicBezTo>
                          <a:pt x="3943201" y="996765"/>
                          <a:pt x="3956240" y="1003344"/>
                          <a:pt x="3943201" y="1009923"/>
                        </a:cubicBezTo>
                        <a:cubicBezTo>
                          <a:pt x="3930164" y="1009923"/>
                          <a:pt x="3910607" y="1003344"/>
                          <a:pt x="3897568" y="1003344"/>
                        </a:cubicBezTo>
                        <a:cubicBezTo>
                          <a:pt x="3891049" y="996765"/>
                          <a:pt x="3878010" y="996765"/>
                          <a:pt x="3871492" y="1003344"/>
                        </a:cubicBezTo>
                        <a:cubicBezTo>
                          <a:pt x="3864973" y="1016503"/>
                          <a:pt x="3878010" y="1023082"/>
                          <a:pt x="3871492" y="1029661"/>
                        </a:cubicBezTo>
                        <a:cubicBezTo>
                          <a:pt x="3871492" y="1055977"/>
                          <a:pt x="3825858" y="1029661"/>
                          <a:pt x="3819339" y="1055977"/>
                        </a:cubicBezTo>
                        <a:cubicBezTo>
                          <a:pt x="3819339" y="1062556"/>
                          <a:pt x="3825858" y="1075714"/>
                          <a:pt x="3819339" y="1082292"/>
                        </a:cubicBezTo>
                        <a:cubicBezTo>
                          <a:pt x="3812821" y="1095451"/>
                          <a:pt x="3793263" y="1088871"/>
                          <a:pt x="3780225" y="1095451"/>
                        </a:cubicBezTo>
                        <a:lnTo>
                          <a:pt x="3769631" y="1097095"/>
                        </a:lnTo>
                        <a:lnTo>
                          <a:pt x="3773706" y="1108609"/>
                        </a:lnTo>
                        <a:cubicBezTo>
                          <a:pt x="3773744" y="1108609"/>
                          <a:pt x="3780225" y="1108629"/>
                          <a:pt x="3780225" y="1115188"/>
                        </a:cubicBezTo>
                        <a:cubicBezTo>
                          <a:pt x="3773706" y="1121767"/>
                          <a:pt x="3773706" y="1115188"/>
                          <a:pt x="3767186" y="1121767"/>
                        </a:cubicBezTo>
                        <a:cubicBezTo>
                          <a:pt x="3767186" y="1125056"/>
                          <a:pt x="3765556" y="1125056"/>
                          <a:pt x="3764741" y="1125879"/>
                        </a:cubicBezTo>
                        <a:lnTo>
                          <a:pt x="3767186" y="1134925"/>
                        </a:lnTo>
                        <a:cubicBezTo>
                          <a:pt x="3767252" y="1134925"/>
                          <a:pt x="3773749" y="1134961"/>
                          <a:pt x="3780225" y="1141504"/>
                        </a:cubicBezTo>
                        <a:cubicBezTo>
                          <a:pt x="3786743" y="1154662"/>
                          <a:pt x="3780225" y="1148083"/>
                          <a:pt x="3773706" y="1161241"/>
                        </a:cubicBezTo>
                        <a:cubicBezTo>
                          <a:pt x="3760667" y="1174399"/>
                          <a:pt x="3793263" y="1167820"/>
                          <a:pt x="3799782" y="1174399"/>
                        </a:cubicBezTo>
                        <a:cubicBezTo>
                          <a:pt x="3819339" y="1194137"/>
                          <a:pt x="3767186" y="1194137"/>
                          <a:pt x="3773706" y="1213874"/>
                        </a:cubicBezTo>
                        <a:cubicBezTo>
                          <a:pt x="3778595" y="1223743"/>
                          <a:pt x="3798152" y="1215107"/>
                          <a:pt x="3802125" y="1221274"/>
                        </a:cubicBezTo>
                        <a:lnTo>
                          <a:pt x="3799782" y="1233610"/>
                        </a:lnTo>
                        <a:cubicBezTo>
                          <a:pt x="3793263" y="1240189"/>
                          <a:pt x="3786743" y="1240189"/>
                          <a:pt x="3786743" y="1246768"/>
                        </a:cubicBezTo>
                        <a:cubicBezTo>
                          <a:pt x="3786743" y="1266506"/>
                          <a:pt x="3799782" y="1253347"/>
                          <a:pt x="3806301" y="1253347"/>
                        </a:cubicBezTo>
                        <a:cubicBezTo>
                          <a:pt x="3819339" y="1259926"/>
                          <a:pt x="3806301" y="1286243"/>
                          <a:pt x="3825858" y="1279664"/>
                        </a:cubicBezTo>
                        <a:cubicBezTo>
                          <a:pt x="3845416" y="1279664"/>
                          <a:pt x="3838897" y="1253347"/>
                          <a:pt x="3858454" y="1253347"/>
                        </a:cubicBezTo>
                        <a:cubicBezTo>
                          <a:pt x="3864973" y="1253347"/>
                          <a:pt x="3871492" y="1259926"/>
                          <a:pt x="3878010" y="1253347"/>
                        </a:cubicBezTo>
                        <a:cubicBezTo>
                          <a:pt x="3884530" y="1253347"/>
                          <a:pt x="3884530" y="1240189"/>
                          <a:pt x="3891049" y="1233610"/>
                        </a:cubicBezTo>
                        <a:cubicBezTo>
                          <a:pt x="3904088" y="1227031"/>
                          <a:pt x="3910607" y="1240187"/>
                          <a:pt x="3917125" y="1240189"/>
                        </a:cubicBezTo>
                        <a:cubicBezTo>
                          <a:pt x="3930164" y="1240189"/>
                          <a:pt x="3936683" y="1227031"/>
                          <a:pt x="3943201" y="1240189"/>
                        </a:cubicBezTo>
                        <a:cubicBezTo>
                          <a:pt x="3943201" y="1259926"/>
                          <a:pt x="3923645" y="1273085"/>
                          <a:pt x="3936683" y="1286243"/>
                        </a:cubicBezTo>
                        <a:cubicBezTo>
                          <a:pt x="3949721" y="1299402"/>
                          <a:pt x="3975798" y="1305981"/>
                          <a:pt x="3988835" y="1312560"/>
                        </a:cubicBezTo>
                        <a:lnTo>
                          <a:pt x="3996067" y="1323251"/>
                        </a:lnTo>
                        <a:cubicBezTo>
                          <a:pt x="3996985" y="1330653"/>
                          <a:pt x="3982316" y="1330653"/>
                          <a:pt x="3982316" y="1345455"/>
                        </a:cubicBezTo>
                        <a:cubicBezTo>
                          <a:pt x="3975798" y="1371772"/>
                          <a:pt x="4008392" y="1384929"/>
                          <a:pt x="4021431" y="1358614"/>
                        </a:cubicBezTo>
                        <a:cubicBezTo>
                          <a:pt x="4027950" y="1338876"/>
                          <a:pt x="4021431" y="1325718"/>
                          <a:pt x="4054026" y="1332297"/>
                        </a:cubicBezTo>
                        <a:cubicBezTo>
                          <a:pt x="4073584" y="1338876"/>
                          <a:pt x="4080103" y="1325718"/>
                          <a:pt x="4073584" y="1305981"/>
                        </a:cubicBezTo>
                        <a:cubicBezTo>
                          <a:pt x="4067065" y="1279664"/>
                          <a:pt x="4054026" y="1259926"/>
                          <a:pt x="4080103" y="1246768"/>
                        </a:cubicBezTo>
                        <a:cubicBezTo>
                          <a:pt x="4093141" y="1240189"/>
                          <a:pt x="4112698" y="1240189"/>
                          <a:pt x="4119217" y="1227031"/>
                        </a:cubicBezTo>
                        <a:cubicBezTo>
                          <a:pt x="4132256" y="1207295"/>
                          <a:pt x="4125737" y="1187558"/>
                          <a:pt x="4112698" y="1174399"/>
                        </a:cubicBezTo>
                        <a:cubicBezTo>
                          <a:pt x="4099661" y="1161241"/>
                          <a:pt x="4086622" y="1148083"/>
                          <a:pt x="4086622" y="1134925"/>
                        </a:cubicBezTo>
                        <a:cubicBezTo>
                          <a:pt x="4086622" y="1121767"/>
                          <a:pt x="4099661" y="1108609"/>
                          <a:pt x="4099661" y="1095451"/>
                        </a:cubicBezTo>
                        <a:cubicBezTo>
                          <a:pt x="4099661" y="1082292"/>
                          <a:pt x="4093141" y="1062556"/>
                          <a:pt x="4106180" y="1049398"/>
                        </a:cubicBezTo>
                        <a:cubicBezTo>
                          <a:pt x="4112698" y="1042819"/>
                          <a:pt x="4125737" y="1049398"/>
                          <a:pt x="4125737" y="1029661"/>
                        </a:cubicBezTo>
                        <a:cubicBezTo>
                          <a:pt x="4132256" y="1023082"/>
                          <a:pt x="4125737" y="1016503"/>
                          <a:pt x="4138775" y="1009923"/>
                        </a:cubicBezTo>
                        <a:cubicBezTo>
                          <a:pt x="4158332" y="996765"/>
                          <a:pt x="4171371" y="1009923"/>
                          <a:pt x="4184408" y="983607"/>
                        </a:cubicBezTo>
                        <a:cubicBezTo>
                          <a:pt x="4190928" y="970449"/>
                          <a:pt x="4203966" y="950712"/>
                          <a:pt x="4203966" y="930976"/>
                        </a:cubicBezTo>
                        <a:cubicBezTo>
                          <a:pt x="4210486" y="911238"/>
                          <a:pt x="4236562" y="898080"/>
                          <a:pt x="4256119" y="904659"/>
                        </a:cubicBezTo>
                        <a:cubicBezTo>
                          <a:pt x="4269157" y="904659"/>
                          <a:pt x="4269157" y="917817"/>
                          <a:pt x="4269157" y="930976"/>
                        </a:cubicBezTo>
                        <a:cubicBezTo>
                          <a:pt x="4269157" y="937544"/>
                          <a:pt x="4269157" y="944112"/>
                          <a:pt x="4269157" y="944133"/>
                        </a:cubicBezTo>
                        <a:cubicBezTo>
                          <a:pt x="4275675" y="950712"/>
                          <a:pt x="4275675" y="957291"/>
                          <a:pt x="4275675" y="963870"/>
                        </a:cubicBezTo>
                        <a:cubicBezTo>
                          <a:pt x="4275675" y="977028"/>
                          <a:pt x="4256119" y="983607"/>
                          <a:pt x="4249599" y="983607"/>
                        </a:cubicBezTo>
                        <a:cubicBezTo>
                          <a:pt x="4230042" y="996765"/>
                          <a:pt x="4217004" y="1003344"/>
                          <a:pt x="4210486" y="1016503"/>
                        </a:cubicBezTo>
                        <a:cubicBezTo>
                          <a:pt x="4203966" y="1023082"/>
                          <a:pt x="4203966" y="1029661"/>
                          <a:pt x="4203966" y="1036240"/>
                        </a:cubicBezTo>
                        <a:cubicBezTo>
                          <a:pt x="4197447" y="1055977"/>
                          <a:pt x="4210486" y="1069135"/>
                          <a:pt x="4210486" y="1088871"/>
                        </a:cubicBezTo>
                        <a:cubicBezTo>
                          <a:pt x="4217004" y="1102030"/>
                          <a:pt x="4223523" y="1108609"/>
                          <a:pt x="4223523" y="1121767"/>
                        </a:cubicBezTo>
                        <a:cubicBezTo>
                          <a:pt x="4236562" y="1134925"/>
                          <a:pt x="4230042" y="1154662"/>
                          <a:pt x="4243080" y="1167820"/>
                        </a:cubicBezTo>
                        <a:cubicBezTo>
                          <a:pt x="4256119" y="1174399"/>
                          <a:pt x="4269157" y="1174399"/>
                          <a:pt x="4282195" y="1167820"/>
                        </a:cubicBezTo>
                        <a:cubicBezTo>
                          <a:pt x="4295233" y="1154662"/>
                          <a:pt x="4308271" y="1141504"/>
                          <a:pt x="4327829" y="1141504"/>
                        </a:cubicBezTo>
                        <a:cubicBezTo>
                          <a:pt x="4340866" y="1141504"/>
                          <a:pt x="4347386" y="1154662"/>
                          <a:pt x="4353905" y="1154662"/>
                        </a:cubicBezTo>
                        <a:cubicBezTo>
                          <a:pt x="4366944" y="1161241"/>
                          <a:pt x="4373462" y="1154662"/>
                          <a:pt x="4386500" y="1154662"/>
                        </a:cubicBezTo>
                        <a:cubicBezTo>
                          <a:pt x="4399539" y="1161241"/>
                          <a:pt x="4419096" y="1180979"/>
                          <a:pt x="4393020" y="1187558"/>
                        </a:cubicBezTo>
                        <a:cubicBezTo>
                          <a:pt x="4379981" y="1194137"/>
                          <a:pt x="4366944" y="1187558"/>
                          <a:pt x="4353905" y="1187558"/>
                        </a:cubicBezTo>
                        <a:cubicBezTo>
                          <a:pt x="4334348" y="1187558"/>
                          <a:pt x="4334348" y="1200716"/>
                          <a:pt x="4321310" y="1200716"/>
                        </a:cubicBezTo>
                        <a:cubicBezTo>
                          <a:pt x="4301753" y="1207295"/>
                          <a:pt x="4288714" y="1187558"/>
                          <a:pt x="4269157" y="1200716"/>
                        </a:cubicBezTo>
                        <a:cubicBezTo>
                          <a:pt x="4230042" y="1227031"/>
                          <a:pt x="4288714" y="1259926"/>
                          <a:pt x="4262638" y="1286243"/>
                        </a:cubicBezTo>
                        <a:cubicBezTo>
                          <a:pt x="4249599" y="1305981"/>
                          <a:pt x="4236562" y="1279664"/>
                          <a:pt x="4230042" y="1273085"/>
                        </a:cubicBezTo>
                        <a:cubicBezTo>
                          <a:pt x="4210486" y="1266506"/>
                          <a:pt x="4190928" y="1279664"/>
                          <a:pt x="4190928" y="1292823"/>
                        </a:cubicBezTo>
                        <a:cubicBezTo>
                          <a:pt x="4184408" y="1312560"/>
                          <a:pt x="4197447" y="1325718"/>
                          <a:pt x="4190928" y="1345455"/>
                        </a:cubicBezTo>
                        <a:cubicBezTo>
                          <a:pt x="4190928" y="1352035"/>
                          <a:pt x="4184408" y="1352035"/>
                          <a:pt x="4177889" y="1358614"/>
                        </a:cubicBezTo>
                        <a:cubicBezTo>
                          <a:pt x="4177889" y="1371772"/>
                          <a:pt x="4184408" y="1371772"/>
                          <a:pt x="4184408" y="1378351"/>
                        </a:cubicBezTo>
                        <a:cubicBezTo>
                          <a:pt x="4177889" y="1391508"/>
                          <a:pt x="4171371" y="1384929"/>
                          <a:pt x="4164851" y="1391508"/>
                        </a:cubicBezTo>
                        <a:cubicBezTo>
                          <a:pt x="4145294" y="1391508"/>
                          <a:pt x="4151813" y="1404666"/>
                          <a:pt x="4145294" y="1411245"/>
                        </a:cubicBezTo>
                        <a:cubicBezTo>
                          <a:pt x="4132256" y="1430983"/>
                          <a:pt x="4112698" y="1424403"/>
                          <a:pt x="4093141" y="1424403"/>
                        </a:cubicBezTo>
                        <a:cubicBezTo>
                          <a:pt x="4067065" y="1424403"/>
                          <a:pt x="4054026" y="1430983"/>
                          <a:pt x="4027950" y="1444141"/>
                        </a:cubicBezTo>
                        <a:cubicBezTo>
                          <a:pt x="4001874" y="1450720"/>
                          <a:pt x="3988835" y="1430983"/>
                          <a:pt x="3969279" y="1430983"/>
                        </a:cubicBezTo>
                        <a:lnTo>
                          <a:pt x="3959805" y="1429338"/>
                        </a:lnTo>
                        <a:cubicBezTo>
                          <a:pt x="3954610" y="1430571"/>
                          <a:pt x="3959500" y="1439206"/>
                          <a:pt x="3949721" y="1444141"/>
                        </a:cubicBezTo>
                        <a:cubicBezTo>
                          <a:pt x="3936683" y="1450720"/>
                          <a:pt x="3930164" y="1444141"/>
                          <a:pt x="3923645" y="1437562"/>
                        </a:cubicBezTo>
                        <a:cubicBezTo>
                          <a:pt x="3917125" y="1437562"/>
                          <a:pt x="3910607" y="1430983"/>
                          <a:pt x="3904088" y="1424403"/>
                        </a:cubicBezTo>
                        <a:cubicBezTo>
                          <a:pt x="3884530" y="1404666"/>
                          <a:pt x="3910607" y="1398087"/>
                          <a:pt x="3904088" y="1384929"/>
                        </a:cubicBezTo>
                        <a:cubicBezTo>
                          <a:pt x="3904088" y="1365193"/>
                          <a:pt x="3897568" y="1365193"/>
                          <a:pt x="3904088" y="1352035"/>
                        </a:cubicBezTo>
                        <a:cubicBezTo>
                          <a:pt x="3904088" y="1345456"/>
                          <a:pt x="3904088" y="1338876"/>
                          <a:pt x="3904088" y="1332297"/>
                        </a:cubicBezTo>
                        <a:cubicBezTo>
                          <a:pt x="3904088" y="1325718"/>
                          <a:pt x="3904088" y="1319139"/>
                          <a:pt x="3904088" y="1305981"/>
                        </a:cubicBezTo>
                        <a:cubicBezTo>
                          <a:pt x="3910607" y="1299402"/>
                          <a:pt x="3917125" y="1266506"/>
                          <a:pt x="3897568" y="1279664"/>
                        </a:cubicBezTo>
                        <a:cubicBezTo>
                          <a:pt x="3884530" y="1279664"/>
                          <a:pt x="3891049" y="1292823"/>
                          <a:pt x="3884530" y="1292823"/>
                        </a:cubicBezTo>
                        <a:cubicBezTo>
                          <a:pt x="3878010" y="1299402"/>
                          <a:pt x="3871492" y="1292823"/>
                          <a:pt x="3864973" y="1292823"/>
                        </a:cubicBezTo>
                        <a:cubicBezTo>
                          <a:pt x="3851934" y="1305981"/>
                          <a:pt x="3884530" y="1312560"/>
                          <a:pt x="3884530" y="1319139"/>
                        </a:cubicBezTo>
                        <a:cubicBezTo>
                          <a:pt x="3871492" y="1325718"/>
                          <a:pt x="3825858" y="1325718"/>
                          <a:pt x="3838897" y="1352035"/>
                        </a:cubicBezTo>
                        <a:cubicBezTo>
                          <a:pt x="3845416" y="1358614"/>
                          <a:pt x="3851934" y="1358614"/>
                          <a:pt x="3858454" y="1365193"/>
                        </a:cubicBezTo>
                        <a:cubicBezTo>
                          <a:pt x="3858454" y="1378351"/>
                          <a:pt x="3851934" y="1378351"/>
                          <a:pt x="3851934" y="1384929"/>
                        </a:cubicBezTo>
                        <a:cubicBezTo>
                          <a:pt x="3845416" y="1404666"/>
                          <a:pt x="3871492" y="1417824"/>
                          <a:pt x="3878010" y="1430983"/>
                        </a:cubicBezTo>
                        <a:cubicBezTo>
                          <a:pt x="3884530" y="1463878"/>
                          <a:pt x="3858454" y="1457299"/>
                          <a:pt x="3838897" y="1463878"/>
                        </a:cubicBezTo>
                        <a:cubicBezTo>
                          <a:pt x="3838816" y="1463970"/>
                          <a:pt x="3832336" y="1470457"/>
                          <a:pt x="3825858" y="1470457"/>
                        </a:cubicBezTo>
                        <a:cubicBezTo>
                          <a:pt x="3819339" y="1477036"/>
                          <a:pt x="3812821" y="1470457"/>
                          <a:pt x="3806301" y="1470457"/>
                        </a:cubicBezTo>
                        <a:cubicBezTo>
                          <a:pt x="3786743" y="1470457"/>
                          <a:pt x="3773706" y="1477036"/>
                          <a:pt x="3760667" y="1490194"/>
                        </a:cubicBezTo>
                        <a:cubicBezTo>
                          <a:pt x="3754148" y="1509932"/>
                          <a:pt x="3760667" y="1523090"/>
                          <a:pt x="3754148" y="1536248"/>
                        </a:cubicBezTo>
                        <a:cubicBezTo>
                          <a:pt x="3741110" y="1555984"/>
                          <a:pt x="3715033" y="1555984"/>
                          <a:pt x="3695476" y="1549405"/>
                        </a:cubicBezTo>
                        <a:cubicBezTo>
                          <a:pt x="3682439" y="1549405"/>
                          <a:pt x="3669400" y="1549405"/>
                          <a:pt x="3669400" y="1569142"/>
                        </a:cubicBezTo>
                        <a:cubicBezTo>
                          <a:pt x="3669400" y="1582300"/>
                          <a:pt x="3682439" y="1588880"/>
                          <a:pt x="3675919" y="1602038"/>
                        </a:cubicBezTo>
                        <a:cubicBezTo>
                          <a:pt x="3675919" y="1615196"/>
                          <a:pt x="3656361" y="1615196"/>
                          <a:pt x="3643324" y="1615196"/>
                        </a:cubicBezTo>
                        <a:cubicBezTo>
                          <a:pt x="3630285" y="1615196"/>
                          <a:pt x="3623766" y="1602038"/>
                          <a:pt x="3610728" y="1602038"/>
                        </a:cubicBezTo>
                        <a:lnTo>
                          <a:pt x="3597791" y="1601525"/>
                        </a:lnTo>
                        <a:cubicBezTo>
                          <a:pt x="3590763" y="1604917"/>
                          <a:pt x="3599320" y="1618485"/>
                          <a:pt x="3604209" y="1628354"/>
                        </a:cubicBezTo>
                        <a:cubicBezTo>
                          <a:pt x="3610728" y="1648091"/>
                          <a:pt x="3584651" y="1641512"/>
                          <a:pt x="3571614" y="1641512"/>
                        </a:cubicBezTo>
                        <a:cubicBezTo>
                          <a:pt x="3552057" y="1648091"/>
                          <a:pt x="3512942" y="1634933"/>
                          <a:pt x="3512942" y="1661249"/>
                        </a:cubicBezTo>
                        <a:cubicBezTo>
                          <a:pt x="3512942" y="1680987"/>
                          <a:pt x="3539018" y="1680987"/>
                          <a:pt x="3558575" y="1687566"/>
                        </a:cubicBezTo>
                        <a:cubicBezTo>
                          <a:pt x="3578133" y="1694144"/>
                          <a:pt x="3565094" y="1720460"/>
                          <a:pt x="3584651" y="1733618"/>
                        </a:cubicBezTo>
                        <a:cubicBezTo>
                          <a:pt x="3604209" y="1746776"/>
                          <a:pt x="3643324" y="1746776"/>
                          <a:pt x="3623766" y="1779673"/>
                        </a:cubicBezTo>
                        <a:cubicBezTo>
                          <a:pt x="3617248" y="1792831"/>
                          <a:pt x="3610728" y="1792831"/>
                          <a:pt x="3604209" y="1805989"/>
                        </a:cubicBezTo>
                        <a:cubicBezTo>
                          <a:pt x="3604209" y="1819147"/>
                          <a:pt x="3604209" y="1832305"/>
                          <a:pt x="3597690" y="1845464"/>
                        </a:cubicBezTo>
                        <a:cubicBezTo>
                          <a:pt x="3584651" y="1865200"/>
                          <a:pt x="3552057" y="1865200"/>
                          <a:pt x="3532499" y="1865200"/>
                        </a:cubicBezTo>
                        <a:cubicBezTo>
                          <a:pt x="3519460" y="1865200"/>
                          <a:pt x="3499903" y="1865200"/>
                          <a:pt x="3486865" y="1858621"/>
                        </a:cubicBezTo>
                        <a:cubicBezTo>
                          <a:pt x="3480346" y="1858621"/>
                          <a:pt x="3473827" y="1858621"/>
                          <a:pt x="3467308" y="1852042"/>
                        </a:cubicBezTo>
                        <a:cubicBezTo>
                          <a:pt x="3460789" y="1852042"/>
                          <a:pt x="3454269" y="1838885"/>
                          <a:pt x="3441232" y="1838885"/>
                        </a:cubicBezTo>
                        <a:cubicBezTo>
                          <a:pt x="3441232" y="1845412"/>
                          <a:pt x="3434813" y="1845464"/>
                          <a:pt x="3434712" y="1845464"/>
                        </a:cubicBezTo>
                        <a:cubicBezTo>
                          <a:pt x="3428193" y="1852042"/>
                          <a:pt x="3428193" y="1852042"/>
                          <a:pt x="3421674" y="1852042"/>
                        </a:cubicBezTo>
                        <a:cubicBezTo>
                          <a:pt x="3402117" y="1858621"/>
                          <a:pt x="3389078" y="1865200"/>
                          <a:pt x="3395598" y="1884937"/>
                        </a:cubicBezTo>
                        <a:cubicBezTo>
                          <a:pt x="3395598" y="1898118"/>
                          <a:pt x="3400504" y="1909648"/>
                          <a:pt x="3403757" y="1921183"/>
                        </a:cubicBezTo>
                        <a:cubicBezTo>
                          <a:pt x="3320375" y="1876527"/>
                          <a:pt x="3235444" y="1834223"/>
                          <a:pt x="3149778" y="1793573"/>
                        </a:cubicBezTo>
                        <a:cubicBezTo>
                          <a:pt x="2980614" y="1567631"/>
                          <a:pt x="2804454" y="1362742"/>
                          <a:pt x="2619351" y="1179859"/>
                        </a:cubicBezTo>
                        <a:cubicBezTo>
                          <a:pt x="2753619" y="1021941"/>
                          <a:pt x="2892903" y="871760"/>
                          <a:pt x="3030556" y="734085"/>
                        </a:cubicBezTo>
                        <a:cubicBezTo>
                          <a:pt x="3040441" y="729182"/>
                          <a:pt x="3050069" y="724133"/>
                          <a:pt x="3048173" y="715826"/>
                        </a:cubicBezTo>
                        <a:cubicBezTo>
                          <a:pt x="3126733" y="636926"/>
                          <a:pt x="3204874" y="562436"/>
                          <a:pt x="3281289" y="493209"/>
                        </a:cubicBezTo>
                        <a:cubicBezTo>
                          <a:pt x="3309736" y="518570"/>
                          <a:pt x="3347477" y="532145"/>
                          <a:pt x="3388389" y="532145"/>
                        </a:cubicBezTo>
                        <a:cubicBezTo>
                          <a:pt x="3488339" y="532145"/>
                          <a:pt x="3569364" y="451120"/>
                          <a:pt x="3569364" y="351170"/>
                        </a:cubicBezTo>
                        <a:cubicBezTo>
                          <a:pt x="3569364" y="328760"/>
                          <a:pt x="3565291" y="307301"/>
                          <a:pt x="3557306" y="287696"/>
                        </a:cubicBezTo>
                        <a:close/>
                        <a:moveTo>
                          <a:pt x="3388389" y="244490"/>
                        </a:moveTo>
                        <a:cubicBezTo>
                          <a:pt x="3447307" y="244490"/>
                          <a:pt x="3495069" y="292252"/>
                          <a:pt x="3495069" y="351170"/>
                        </a:cubicBezTo>
                        <a:cubicBezTo>
                          <a:pt x="3495069" y="410088"/>
                          <a:pt x="3447307" y="457850"/>
                          <a:pt x="3388389" y="457850"/>
                        </a:cubicBezTo>
                        <a:cubicBezTo>
                          <a:pt x="3329471" y="457850"/>
                          <a:pt x="3281709" y="410088"/>
                          <a:pt x="3281709" y="351170"/>
                        </a:cubicBezTo>
                        <a:cubicBezTo>
                          <a:pt x="3281709" y="292252"/>
                          <a:pt x="3329471" y="244490"/>
                          <a:pt x="3388389" y="244490"/>
                        </a:cubicBezTo>
                        <a:close/>
                        <a:moveTo>
                          <a:pt x="3158941" y="175915"/>
                        </a:moveTo>
                        <a:lnTo>
                          <a:pt x="3161140" y="176253"/>
                        </a:lnTo>
                        <a:cubicBezTo>
                          <a:pt x="3173468" y="182408"/>
                          <a:pt x="3179977" y="182575"/>
                          <a:pt x="3192664" y="188977"/>
                        </a:cubicBezTo>
                        <a:lnTo>
                          <a:pt x="3207130" y="185048"/>
                        </a:lnTo>
                        <a:lnTo>
                          <a:pt x="3287899" y="204674"/>
                        </a:lnTo>
                        <a:cubicBezTo>
                          <a:pt x="3238540" y="234542"/>
                          <a:pt x="3207414" y="289221"/>
                          <a:pt x="3207414" y="351170"/>
                        </a:cubicBezTo>
                        <a:cubicBezTo>
                          <a:pt x="3207414" y="396588"/>
                          <a:pt x="3224145" y="438098"/>
                          <a:pt x="3253289" y="468561"/>
                        </a:cubicBezTo>
                        <a:lnTo>
                          <a:pt x="3067844" y="641960"/>
                        </a:lnTo>
                        <a:cubicBezTo>
                          <a:pt x="3066253" y="639853"/>
                          <a:pt x="3064319" y="637902"/>
                          <a:pt x="3062385" y="635951"/>
                        </a:cubicBezTo>
                        <a:cubicBezTo>
                          <a:pt x="3062385" y="622804"/>
                          <a:pt x="3062385" y="616232"/>
                          <a:pt x="3068900" y="609658"/>
                        </a:cubicBezTo>
                        <a:cubicBezTo>
                          <a:pt x="3075413" y="596512"/>
                          <a:pt x="3075413" y="576792"/>
                          <a:pt x="3062385" y="563646"/>
                        </a:cubicBezTo>
                        <a:cubicBezTo>
                          <a:pt x="3055872" y="557073"/>
                          <a:pt x="3042844" y="557073"/>
                          <a:pt x="3049357" y="543926"/>
                        </a:cubicBezTo>
                        <a:cubicBezTo>
                          <a:pt x="3068900" y="537353"/>
                          <a:pt x="3094955" y="543926"/>
                          <a:pt x="3107983" y="543926"/>
                        </a:cubicBezTo>
                        <a:cubicBezTo>
                          <a:pt x="3114497" y="537353"/>
                          <a:pt x="3121011" y="537353"/>
                          <a:pt x="3121011" y="530780"/>
                        </a:cubicBezTo>
                        <a:cubicBezTo>
                          <a:pt x="3121011" y="517634"/>
                          <a:pt x="3114497" y="517634"/>
                          <a:pt x="3101469" y="517634"/>
                        </a:cubicBezTo>
                        <a:cubicBezTo>
                          <a:pt x="3094955" y="511062"/>
                          <a:pt x="3075413" y="511062"/>
                          <a:pt x="3068900" y="497915"/>
                        </a:cubicBezTo>
                        <a:lnTo>
                          <a:pt x="3062182" y="486515"/>
                        </a:lnTo>
                        <a:cubicBezTo>
                          <a:pt x="3066456" y="478196"/>
                          <a:pt x="3098212" y="478196"/>
                          <a:pt x="3107983" y="478196"/>
                        </a:cubicBezTo>
                        <a:cubicBezTo>
                          <a:pt x="3114497" y="478196"/>
                          <a:pt x="3140553" y="491342"/>
                          <a:pt x="3140553" y="478196"/>
                        </a:cubicBezTo>
                        <a:cubicBezTo>
                          <a:pt x="3147067" y="465049"/>
                          <a:pt x="3107983" y="465049"/>
                          <a:pt x="3114497" y="445329"/>
                        </a:cubicBezTo>
                        <a:cubicBezTo>
                          <a:pt x="3121011" y="432183"/>
                          <a:pt x="3147067" y="425611"/>
                          <a:pt x="3140553" y="405891"/>
                        </a:cubicBezTo>
                        <a:cubicBezTo>
                          <a:pt x="3127525" y="386171"/>
                          <a:pt x="3094955" y="405891"/>
                          <a:pt x="3088441" y="386171"/>
                        </a:cubicBezTo>
                        <a:cubicBezTo>
                          <a:pt x="3081928" y="366452"/>
                          <a:pt x="3081928" y="346732"/>
                          <a:pt x="3107983" y="353306"/>
                        </a:cubicBezTo>
                        <a:cubicBezTo>
                          <a:pt x="3121011" y="353306"/>
                          <a:pt x="3166608" y="392744"/>
                          <a:pt x="3179636" y="373025"/>
                        </a:cubicBezTo>
                        <a:cubicBezTo>
                          <a:pt x="3192664" y="353306"/>
                          <a:pt x="3166608" y="333587"/>
                          <a:pt x="3153580" y="333587"/>
                        </a:cubicBezTo>
                        <a:cubicBezTo>
                          <a:pt x="3147067" y="333587"/>
                          <a:pt x="3140553" y="333587"/>
                          <a:pt x="3140553" y="327013"/>
                        </a:cubicBezTo>
                        <a:cubicBezTo>
                          <a:pt x="3134039" y="320441"/>
                          <a:pt x="3140553" y="320441"/>
                          <a:pt x="3134039" y="313867"/>
                        </a:cubicBezTo>
                        <a:cubicBezTo>
                          <a:pt x="3134039" y="300721"/>
                          <a:pt x="3114497" y="300721"/>
                          <a:pt x="3114497" y="287574"/>
                        </a:cubicBezTo>
                        <a:cubicBezTo>
                          <a:pt x="3114497" y="274429"/>
                          <a:pt x="3127525" y="267856"/>
                          <a:pt x="3134039" y="267856"/>
                        </a:cubicBezTo>
                        <a:cubicBezTo>
                          <a:pt x="3140553" y="261282"/>
                          <a:pt x="3147067" y="254708"/>
                          <a:pt x="3147067" y="241562"/>
                        </a:cubicBezTo>
                        <a:cubicBezTo>
                          <a:pt x="3153580" y="221843"/>
                          <a:pt x="3153580" y="228416"/>
                          <a:pt x="3166608" y="221843"/>
                        </a:cubicBezTo>
                        <a:cubicBezTo>
                          <a:pt x="3186151" y="215269"/>
                          <a:pt x="3179636" y="202123"/>
                          <a:pt x="3166608" y="188977"/>
                        </a:cubicBezTo>
                        <a:cubicBezTo>
                          <a:pt x="3166475" y="188977"/>
                          <a:pt x="3147067" y="188960"/>
                          <a:pt x="3147067" y="182403"/>
                        </a:cubicBezTo>
                        <a:cubicBezTo>
                          <a:pt x="3140919" y="176200"/>
                          <a:pt x="3152179" y="175851"/>
                          <a:pt x="3158941" y="175915"/>
                        </a:cubicBezTo>
                        <a:close/>
                        <a:moveTo>
                          <a:pt x="2680032" y="66572"/>
                        </a:moveTo>
                        <a:cubicBezTo>
                          <a:pt x="1236658" y="66572"/>
                          <a:pt x="66572" y="1236658"/>
                          <a:pt x="66572" y="2680032"/>
                        </a:cubicBezTo>
                        <a:cubicBezTo>
                          <a:pt x="66572" y="4123405"/>
                          <a:pt x="1236658" y="5293491"/>
                          <a:pt x="2680032" y="5293491"/>
                        </a:cubicBezTo>
                        <a:cubicBezTo>
                          <a:pt x="4123405" y="5293491"/>
                          <a:pt x="5293491" y="4123405"/>
                          <a:pt x="5293491" y="2680032"/>
                        </a:cubicBezTo>
                        <a:cubicBezTo>
                          <a:pt x="5293491" y="1508205"/>
                          <a:pt x="4522256" y="516510"/>
                          <a:pt x="3459646" y="184965"/>
                        </a:cubicBezTo>
                        <a:cubicBezTo>
                          <a:pt x="3445024" y="178486"/>
                          <a:pt x="3429326" y="174068"/>
                          <a:pt x="3412820" y="172658"/>
                        </a:cubicBezTo>
                        <a:cubicBezTo>
                          <a:pt x="3180691" y="102972"/>
                          <a:pt x="2934612" y="66572"/>
                          <a:pt x="2680032" y="66572"/>
                        </a:cubicBezTo>
                        <a:close/>
                        <a:moveTo>
                          <a:pt x="2680032" y="0"/>
                        </a:moveTo>
                        <a:cubicBezTo>
                          <a:pt x="4160172" y="0"/>
                          <a:pt x="5360063" y="1199890"/>
                          <a:pt x="5360063" y="2680032"/>
                        </a:cubicBezTo>
                        <a:cubicBezTo>
                          <a:pt x="5360063" y="4160172"/>
                          <a:pt x="4160172" y="5360063"/>
                          <a:pt x="2680032" y="5360063"/>
                        </a:cubicBezTo>
                        <a:cubicBezTo>
                          <a:pt x="1199890" y="5360063"/>
                          <a:pt x="0" y="4160172"/>
                          <a:pt x="0" y="2680032"/>
                        </a:cubicBezTo>
                        <a:cubicBezTo>
                          <a:pt x="0" y="1199890"/>
                          <a:pt x="1199890" y="0"/>
                          <a:pt x="268003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25" tIns="89625" rIns="89625" bIns="89625"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176" dirty="0">
                      <a:solidFill>
                        <a:srgbClr val="FFFFFF"/>
                      </a:solidFill>
                    </a:endParaRPr>
                  </a:p>
                </p:txBody>
              </p:sp>
            </p:grpSp>
            <p:grpSp>
              <p:nvGrpSpPr>
                <p:cNvPr id="124" name="Group 123"/>
                <p:cNvGrpSpPr/>
                <p:nvPr/>
              </p:nvGrpSpPr>
              <p:grpSpPr>
                <a:xfrm>
                  <a:off x="-1741957" y="3744589"/>
                  <a:ext cx="868680" cy="685800"/>
                  <a:chOff x="-1741957" y="3744589"/>
                  <a:chExt cx="868680" cy="685800"/>
                </a:xfrm>
              </p:grpSpPr>
              <p:sp>
                <p:nvSpPr>
                  <p:cNvPr id="128" name="Rectangle 127"/>
                  <p:cNvSpPr/>
                  <p:nvPr/>
                </p:nvSpPr>
                <p:spPr bwMode="auto">
                  <a:xfrm>
                    <a:off x="-1741957" y="3744589"/>
                    <a:ext cx="868680" cy="685800"/>
                  </a:xfrm>
                  <a:prstGeom prst="rect">
                    <a:avLst/>
                  </a:prstGeom>
                  <a:solidFill>
                    <a:schemeClr val="bg1">
                      <a:alpha val="10000"/>
                    </a:schemeClr>
                  </a:solidFill>
                  <a:ln w="3175">
                    <a:solidFill>
                      <a:schemeClr val="bg1">
                        <a:lumMod val="9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a:solidFill>
                          <a:srgbClr val="FFFFFF"/>
                        </a:solidFill>
                      </a:rPr>
                      <a:t>Cloud services</a:t>
                    </a:r>
                  </a:p>
                </p:txBody>
              </p:sp>
              <p:sp>
                <p:nvSpPr>
                  <p:cNvPr id="129" name="Freeform 128"/>
                  <p:cNvSpPr/>
                  <p:nvPr/>
                </p:nvSpPr>
                <p:spPr bwMode="auto">
                  <a:xfrm>
                    <a:off x="-1593165" y="3818577"/>
                    <a:ext cx="571096" cy="372834"/>
                  </a:xfrm>
                  <a:custGeom>
                    <a:avLst/>
                    <a:gdLst/>
                    <a:ahLst/>
                    <a:cxnLst/>
                    <a:rect l="l" t="t" r="r" b="b"/>
                    <a:pathLst>
                      <a:path w="701119" h="457720">
                        <a:moveTo>
                          <a:pt x="287371" y="256623"/>
                        </a:moveTo>
                        <a:cubicBezTo>
                          <a:pt x="292345" y="258581"/>
                          <a:pt x="296573" y="262436"/>
                          <a:pt x="298874" y="267725"/>
                        </a:cubicBezTo>
                        <a:cubicBezTo>
                          <a:pt x="303477" y="278303"/>
                          <a:pt x="298633" y="290609"/>
                          <a:pt x="288055" y="295212"/>
                        </a:cubicBezTo>
                        <a:cubicBezTo>
                          <a:pt x="277477" y="299814"/>
                          <a:pt x="265171" y="294971"/>
                          <a:pt x="260568" y="284393"/>
                        </a:cubicBezTo>
                        <a:cubicBezTo>
                          <a:pt x="255966" y="273815"/>
                          <a:pt x="260809" y="261509"/>
                          <a:pt x="271387" y="256906"/>
                        </a:cubicBezTo>
                        <a:cubicBezTo>
                          <a:pt x="276676" y="254605"/>
                          <a:pt x="282397" y="254665"/>
                          <a:pt x="287371" y="256623"/>
                        </a:cubicBezTo>
                        <a:close/>
                        <a:moveTo>
                          <a:pt x="291945" y="245002"/>
                        </a:moveTo>
                        <a:cubicBezTo>
                          <a:pt x="283997" y="241874"/>
                          <a:pt x="274855" y="241777"/>
                          <a:pt x="266404" y="245455"/>
                        </a:cubicBezTo>
                        <a:cubicBezTo>
                          <a:pt x="249502" y="252810"/>
                          <a:pt x="241762" y="272474"/>
                          <a:pt x="249116" y="289376"/>
                        </a:cubicBezTo>
                        <a:cubicBezTo>
                          <a:pt x="256471" y="306278"/>
                          <a:pt x="276135" y="314018"/>
                          <a:pt x="293038" y="306663"/>
                        </a:cubicBezTo>
                        <a:cubicBezTo>
                          <a:pt x="309940" y="299309"/>
                          <a:pt x="317680" y="279645"/>
                          <a:pt x="310326" y="262742"/>
                        </a:cubicBezTo>
                        <a:cubicBezTo>
                          <a:pt x="306648" y="254291"/>
                          <a:pt x="299894" y="248130"/>
                          <a:pt x="291945" y="245002"/>
                        </a:cubicBezTo>
                        <a:close/>
                        <a:moveTo>
                          <a:pt x="279227" y="229935"/>
                        </a:moveTo>
                        <a:cubicBezTo>
                          <a:pt x="297197" y="229750"/>
                          <a:pt x="314385" y="240144"/>
                          <a:pt x="322007" y="257659"/>
                        </a:cubicBezTo>
                        <a:cubicBezTo>
                          <a:pt x="332168" y="281013"/>
                          <a:pt x="321474" y="308182"/>
                          <a:pt x="298121" y="318344"/>
                        </a:cubicBezTo>
                        <a:cubicBezTo>
                          <a:pt x="274767" y="328506"/>
                          <a:pt x="247597" y="317812"/>
                          <a:pt x="237436" y="294459"/>
                        </a:cubicBezTo>
                        <a:cubicBezTo>
                          <a:pt x="227274" y="271105"/>
                          <a:pt x="237968" y="243936"/>
                          <a:pt x="261322" y="233774"/>
                        </a:cubicBezTo>
                        <a:cubicBezTo>
                          <a:pt x="267160" y="231233"/>
                          <a:pt x="273237" y="229996"/>
                          <a:pt x="279227" y="229935"/>
                        </a:cubicBezTo>
                        <a:close/>
                        <a:moveTo>
                          <a:pt x="290710" y="195176"/>
                        </a:moveTo>
                        <a:cubicBezTo>
                          <a:pt x="282941" y="193957"/>
                          <a:pt x="274954" y="193935"/>
                          <a:pt x="267011" y="195270"/>
                        </a:cubicBezTo>
                        <a:cubicBezTo>
                          <a:pt x="270246" y="205204"/>
                          <a:pt x="265310" y="216061"/>
                          <a:pt x="255476" y="220340"/>
                        </a:cubicBezTo>
                        <a:cubicBezTo>
                          <a:pt x="245698" y="224595"/>
                          <a:pt x="234460" y="220872"/>
                          <a:pt x="229368" y="211834"/>
                        </a:cubicBezTo>
                        <a:cubicBezTo>
                          <a:pt x="223044" y="216699"/>
                          <a:pt x="217573" y="222407"/>
                          <a:pt x="213211" y="228842"/>
                        </a:cubicBezTo>
                        <a:cubicBezTo>
                          <a:pt x="222456" y="233506"/>
                          <a:pt x="226692" y="244536"/>
                          <a:pt x="222913" y="254492"/>
                        </a:cubicBezTo>
                        <a:cubicBezTo>
                          <a:pt x="219105" y="264523"/>
                          <a:pt x="208484" y="269971"/>
                          <a:pt x="198403" y="267204"/>
                        </a:cubicBezTo>
                        <a:cubicBezTo>
                          <a:pt x="197563" y="274300"/>
                          <a:pt x="197680" y="281555"/>
                          <a:pt x="198909" y="288771"/>
                        </a:cubicBezTo>
                        <a:cubicBezTo>
                          <a:pt x="208849" y="285524"/>
                          <a:pt x="219721" y="290459"/>
                          <a:pt x="224003" y="300301"/>
                        </a:cubicBezTo>
                        <a:cubicBezTo>
                          <a:pt x="228258" y="310079"/>
                          <a:pt x="224535" y="321317"/>
                          <a:pt x="215497" y="326409"/>
                        </a:cubicBezTo>
                        <a:cubicBezTo>
                          <a:pt x="219906" y="332139"/>
                          <a:pt x="225006" y="337169"/>
                          <a:pt x="230785" y="341220"/>
                        </a:cubicBezTo>
                        <a:cubicBezTo>
                          <a:pt x="235707" y="332144"/>
                          <a:pt x="246817" y="328233"/>
                          <a:pt x="256644" y="332267"/>
                        </a:cubicBezTo>
                        <a:cubicBezTo>
                          <a:pt x="266533" y="336327"/>
                          <a:pt x="271693" y="347023"/>
                          <a:pt x="268719" y="356994"/>
                        </a:cubicBezTo>
                        <a:cubicBezTo>
                          <a:pt x="276490" y="358184"/>
                          <a:pt x="284482" y="358192"/>
                          <a:pt x="292430" y="356849"/>
                        </a:cubicBezTo>
                        <a:cubicBezTo>
                          <a:pt x="289193" y="346914"/>
                          <a:pt x="294129" y="336053"/>
                          <a:pt x="303964" y="331773"/>
                        </a:cubicBezTo>
                        <a:cubicBezTo>
                          <a:pt x="313742" y="327518"/>
                          <a:pt x="324980" y="331241"/>
                          <a:pt x="330072" y="340279"/>
                        </a:cubicBezTo>
                        <a:cubicBezTo>
                          <a:pt x="336396" y="335414"/>
                          <a:pt x="341867" y="329706"/>
                          <a:pt x="346229" y="323272"/>
                        </a:cubicBezTo>
                        <a:cubicBezTo>
                          <a:pt x="336984" y="318607"/>
                          <a:pt x="332748" y="307577"/>
                          <a:pt x="336527" y="297622"/>
                        </a:cubicBezTo>
                        <a:cubicBezTo>
                          <a:pt x="340335" y="287590"/>
                          <a:pt x="350956" y="282143"/>
                          <a:pt x="361037" y="284910"/>
                        </a:cubicBezTo>
                        <a:cubicBezTo>
                          <a:pt x="361877" y="277814"/>
                          <a:pt x="361760" y="270558"/>
                          <a:pt x="360531" y="263342"/>
                        </a:cubicBezTo>
                        <a:cubicBezTo>
                          <a:pt x="350591" y="266590"/>
                          <a:pt x="339719" y="261654"/>
                          <a:pt x="335437" y="251813"/>
                        </a:cubicBezTo>
                        <a:cubicBezTo>
                          <a:pt x="331157" y="241976"/>
                          <a:pt x="334950" y="230663"/>
                          <a:pt x="344093" y="225600"/>
                        </a:cubicBezTo>
                        <a:cubicBezTo>
                          <a:pt x="339668" y="219877"/>
                          <a:pt x="334461" y="214942"/>
                          <a:pt x="328685" y="210850"/>
                        </a:cubicBezTo>
                        <a:cubicBezTo>
                          <a:pt x="323772" y="219956"/>
                          <a:pt x="312640" y="223888"/>
                          <a:pt x="302796" y="219846"/>
                        </a:cubicBezTo>
                        <a:cubicBezTo>
                          <a:pt x="292926" y="215794"/>
                          <a:pt x="287766" y="205130"/>
                          <a:pt x="290710" y="195176"/>
                        </a:cubicBezTo>
                        <a:close/>
                        <a:moveTo>
                          <a:pt x="428991" y="152455"/>
                        </a:moveTo>
                        <a:cubicBezTo>
                          <a:pt x="433965" y="154413"/>
                          <a:pt x="438193" y="158268"/>
                          <a:pt x="440494" y="163557"/>
                        </a:cubicBezTo>
                        <a:cubicBezTo>
                          <a:pt x="445097" y="174135"/>
                          <a:pt x="440253" y="186441"/>
                          <a:pt x="429675" y="191044"/>
                        </a:cubicBezTo>
                        <a:cubicBezTo>
                          <a:pt x="419097" y="195646"/>
                          <a:pt x="406791" y="190803"/>
                          <a:pt x="402188" y="180225"/>
                        </a:cubicBezTo>
                        <a:cubicBezTo>
                          <a:pt x="397586" y="169647"/>
                          <a:pt x="402429" y="157341"/>
                          <a:pt x="413007" y="152738"/>
                        </a:cubicBezTo>
                        <a:cubicBezTo>
                          <a:pt x="418296" y="150437"/>
                          <a:pt x="424017" y="150497"/>
                          <a:pt x="428991" y="152455"/>
                        </a:cubicBezTo>
                        <a:close/>
                        <a:moveTo>
                          <a:pt x="433565" y="140834"/>
                        </a:moveTo>
                        <a:cubicBezTo>
                          <a:pt x="425617" y="137706"/>
                          <a:pt x="416475" y="137609"/>
                          <a:pt x="408024" y="141287"/>
                        </a:cubicBezTo>
                        <a:cubicBezTo>
                          <a:pt x="391122" y="148642"/>
                          <a:pt x="383382" y="168306"/>
                          <a:pt x="390736" y="185208"/>
                        </a:cubicBezTo>
                        <a:cubicBezTo>
                          <a:pt x="398091" y="202110"/>
                          <a:pt x="417755" y="209850"/>
                          <a:pt x="434658" y="202495"/>
                        </a:cubicBezTo>
                        <a:cubicBezTo>
                          <a:pt x="451560" y="195141"/>
                          <a:pt x="459300" y="175477"/>
                          <a:pt x="451946" y="158574"/>
                        </a:cubicBezTo>
                        <a:cubicBezTo>
                          <a:pt x="448268" y="150123"/>
                          <a:pt x="441514" y="143962"/>
                          <a:pt x="433565" y="140834"/>
                        </a:cubicBezTo>
                        <a:close/>
                        <a:moveTo>
                          <a:pt x="420847" y="125767"/>
                        </a:moveTo>
                        <a:cubicBezTo>
                          <a:pt x="438817" y="125582"/>
                          <a:pt x="456005" y="135976"/>
                          <a:pt x="463627" y="153491"/>
                        </a:cubicBezTo>
                        <a:cubicBezTo>
                          <a:pt x="473788" y="176845"/>
                          <a:pt x="463094" y="204014"/>
                          <a:pt x="439741" y="214176"/>
                        </a:cubicBezTo>
                        <a:cubicBezTo>
                          <a:pt x="416387" y="224338"/>
                          <a:pt x="389217" y="213644"/>
                          <a:pt x="379056" y="190291"/>
                        </a:cubicBezTo>
                        <a:cubicBezTo>
                          <a:pt x="368894" y="166937"/>
                          <a:pt x="379588" y="139768"/>
                          <a:pt x="402942" y="129606"/>
                        </a:cubicBezTo>
                        <a:cubicBezTo>
                          <a:pt x="408780" y="127065"/>
                          <a:pt x="414857" y="125828"/>
                          <a:pt x="420847" y="125767"/>
                        </a:cubicBezTo>
                        <a:close/>
                        <a:moveTo>
                          <a:pt x="432330" y="91008"/>
                        </a:moveTo>
                        <a:cubicBezTo>
                          <a:pt x="424561" y="89789"/>
                          <a:pt x="416574" y="89767"/>
                          <a:pt x="408631" y="91102"/>
                        </a:cubicBezTo>
                        <a:cubicBezTo>
                          <a:pt x="411866" y="101036"/>
                          <a:pt x="406930" y="111893"/>
                          <a:pt x="397096" y="116172"/>
                        </a:cubicBezTo>
                        <a:cubicBezTo>
                          <a:pt x="387318" y="120427"/>
                          <a:pt x="376080" y="116704"/>
                          <a:pt x="370988" y="107666"/>
                        </a:cubicBezTo>
                        <a:cubicBezTo>
                          <a:pt x="364664" y="112531"/>
                          <a:pt x="359193" y="118239"/>
                          <a:pt x="354831" y="124674"/>
                        </a:cubicBezTo>
                        <a:cubicBezTo>
                          <a:pt x="364076" y="129338"/>
                          <a:pt x="368312" y="140368"/>
                          <a:pt x="364533" y="150324"/>
                        </a:cubicBezTo>
                        <a:cubicBezTo>
                          <a:pt x="360725" y="160355"/>
                          <a:pt x="350104" y="165803"/>
                          <a:pt x="340023" y="163036"/>
                        </a:cubicBezTo>
                        <a:cubicBezTo>
                          <a:pt x="339183" y="170132"/>
                          <a:pt x="339300" y="177387"/>
                          <a:pt x="340529" y="184603"/>
                        </a:cubicBezTo>
                        <a:cubicBezTo>
                          <a:pt x="350469" y="181356"/>
                          <a:pt x="361341" y="186291"/>
                          <a:pt x="365623" y="196133"/>
                        </a:cubicBezTo>
                        <a:cubicBezTo>
                          <a:pt x="369878" y="205911"/>
                          <a:pt x="366155" y="217149"/>
                          <a:pt x="357117" y="222241"/>
                        </a:cubicBezTo>
                        <a:cubicBezTo>
                          <a:pt x="361526" y="227971"/>
                          <a:pt x="366626" y="233001"/>
                          <a:pt x="372405" y="237052"/>
                        </a:cubicBezTo>
                        <a:cubicBezTo>
                          <a:pt x="377327" y="227976"/>
                          <a:pt x="388437" y="224065"/>
                          <a:pt x="398264" y="228099"/>
                        </a:cubicBezTo>
                        <a:cubicBezTo>
                          <a:pt x="408153" y="232159"/>
                          <a:pt x="413313" y="242855"/>
                          <a:pt x="410339" y="252826"/>
                        </a:cubicBezTo>
                        <a:cubicBezTo>
                          <a:pt x="418110" y="254016"/>
                          <a:pt x="426102" y="254024"/>
                          <a:pt x="434050" y="252681"/>
                        </a:cubicBezTo>
                        <a:cubicBezTo>
                          <a:pt x="430813" y="242746"/>
                          <a:pt x="435749" y="231885"/>
                          <a:pt x="445584" y="227605"/>
                        </a:cubicBezTo>
                        <a:cubicBezTo>
                          <a:pt x="455362" y="223350"/>
                          <a:pt x="466600" y="227073"/>
                          <a:pt x="471692" y="236111"/>
                        </a:cubicBezTo>
                        <a:cubicBezTo>
                          <a:pt x="478016" y="231246"/>
                          <a:pt x="483487" y="225538"/>
                          <a:pt x="487849" y="219104"/>
                        </a:cubicBezTo>
                        <a:cubicBezTo>
                          <a:pt x="478604" y="214439"/>
                          <a:pt x="474368" y="203409"/>
                          <a:pt x="478147" y="193454"/>
                        </a:cubicBezTo>
                        <a:cubicBezTo>
                          <a:pt x="481955" y="183422"/>
                          <a:pt x="492576" y="177975"/>
                          <a:pt x="502657" y="180742"/>
                        </a:cubicBezTo>
                        <a:cubicBezTo>
                          <a:pt x="503497" y="173646"/>
                          <a:pt x="503380" y="166390"/>
                          <a:pt x="502151" y="159174"/>
                        </a:cubicBezTo>
                        <a:cubicBezTo>
                          <a:pt x="492211" y="162422"/>
                          <a:pt x="481339" y="157486"/>
                          <a:pt x="477057" y="147645"/>
                        </a:cubicBezTo>
                        <a:cubicBezTo>
                          <a:pt x="472777" y="137808"/>
                          <a:pt x="476570" y="126495"/>
                          <a:pt x="485713" y="121432"/>
                        </a:cubicBezTo>
                        <a:cubicBezTo>
                          <a:pt x="481288" y="115709"/>
                          <a:pt x="476081" y="110774"/>
                          <a:pt x="470305" y="106682"/>
                        </a:cubicBezTo>
                        <a:cubicBezTo>
                          <a:pt x="465392" y="115788"/>
                          <a:pt x="454260" y="119720"/>
                          <a:pt x="444416" y="115678"/>
                        </a:cubicBezTo>
                        <a:cubicBezTo>
                          <a:pt x="434546" y="111626"/>
                          <a:pt x="429386" y="100962"/>
                          <a:pt x="432330" y="91008"/>
                        </a:cubicBezTo>
                        <a:close/>
                        <a:moveTo>
                          <a:pt x="420686" y="0"/>
                        </a:moveTo>
                        <a:cubicBezTo>
                          <a:pt x="510403" y="22"/>
                          <a:pt x="596693" y="74051"/>
                          <a:pt x="587802" y="178731"/>
                        </a:cubicBezTo>
                        <a:cubicBezTo>
                          <a:pt x="725463" y="140645"/>
                          <a:pt x="750242" y="358608"/>
                          <a:pt x="591932" y="341171"/>
                        </a:cubicBezTo>
                        <a:cubicBezTo>
                          <a:pt x="582296" y="379257"/>
                          <a:pt x="542374" y="415967"/>
                          <a:pt x="488686" y="381093"/>
                        </a:cubicBezTo>
                        <a:cubicBezTo>
                          <a:pt x="471708" y="425144"/>
                          <a:pt x="414808" y="477456"/>
                          <a:pt x="342765" y="410002"/>
                        </a:cubicBezTo>
                        <a:cubicBezTo>
                          <a:pt x="314315" y="461395"/>
                          <a:pt x="167476" y="503152"/>
                          <a:pt x="125260" y="357690"/>
                        </a:cubicBezTo>
                        <a:cubicBezTo>
                          <a:pt x="-7812" y="415508"/>
                          <a:pt x="-61042" y="191120"/>
                          <a:pt x="97728" y="192497"/>
                        </a:cubicBezTo>
                        <a:cubicBezTo>
                          <a:pt x="55053" y="120913"/>
                          <a:pt x="169312" y="-12618"/>
                          <a:pt x="275311" y="89251"/>
                        </a:cubicBezTo>
                        <a:cubicBezTo>
                          <a:pt x="311791" y="26615"/>
                          <a:pt x="366856" y="-14"/>
                          <a:pt x="420686"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25" tIns="44812" rIns="44812" bIns="89625"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59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125" name="Group 124"/>
                <p:cNvGrpSpPr/>
                <p:nvPr/>
              </p:nvGrpSpPr>
              <p:grpSpPr>
                <a:xfrm>
                  <a:off x="-836697" y="3744589"/>
                  <a:ext cx="868680" cy="685800"/>
                  <a:chOff x="-836697" y="3744589"/>
                  <a:chExt cx="868680" cy="685800"/>
                </a:xfrm>
              </p:grpSpPr>
              <p:sp>
                <p:nvSpPr>
                  <p:cNvPr id="126" name="Rectangle 125"/>
                  <p:cNvSpPr/>
                  <p:nvPr/>
                </p:nvSpPr>
                <p:spPr bwMode="auto">
                  <a:xfrm>
                    <a:off x="-836697" y="3744589"/>
                    <a:ext cx="868680" cy="685800"/>
                  </a:xfrm>
                  <a:prstGeom prst="rect">
                    <a:avLst/>
                  </a:prstGeom>
                  <a:solidFill>
                    <a:schemeClr val="bg1">
                      <a:alpha val="10000"/>
                    </a:schemeClr>
                  </a:solidFill>
                  <a:ln w="3175">
                    <a:solidFill>
                      <a:schemeClr val="bg1">
                        <a:lumMod val="9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a:solidFill>
                          <a:srgbClr val="FFFFFF"/>
                        </a:solidFill>
                      </a:rPr>
                      <a:t>Mobile services</a:t>
                    </a:r>
                  </a:p>
                </p:txBody>
              </p:sp>
              <p:sp>
                <p:nvSpPr>
                  <p:cNvPr id="127" name="Rounded Rectangle 68"/>
                  <p:cNvSpPr/>
                  <p:nvPr/>
                </p:nvSpPr>
                <p:spPr>
                  <a:xfrm>
                    <a:off x="-503322" y="3803720"/>
                    <a:ext cx="201930" cy="402548"/>
                  </a:xfrm>
                  <a:custGeom>
                    <a:avLst/>
                    <a:gdLst/>
                    <a:ahLst/>
                    <a:cxnLst/>
                    <a:rect l="l" t="t" r="r" b="b"/>
                    <a:pathLst>
                      <a:path w="736663" h="1468542">
                        <a:moveTo>
                          <a:pt x="127441" y="1331784"/>
                        </a:moveTo>
                        <a:lnTo>
                          <a:pt x="127441" y="1333372"/>
                        </a:lnTo>
                        <a:lnTo>
                          <a:pt x="126399" y="1332578"/>
                        </a:lnTo>
                        <a:close/>
                        <a:moveTo>
                          <a:pt x="369735" y="1314798"/>
                        </a:moveTo>
                        <a:lnTo>
                          <a:pt x="357710" y="1354631"/>
                        </a:lnTo>
                        <a:cubicBezTo>
                          <a:pt x="363388" y="1358973"/>
                          <a:pt x="380090" y="1370330"/>
                          <a:pt x="405310" y="1358639"/>
                        </a:cubicBezTo>
                        <a:lnTo>
                          <a:pt x="417335" y="1317052"/>
                        </a:lnTo>
                        <a:cubicBezTo>
                          <a:pt x="391197" y="1326823"/>
                          <a:pt x="381844" y="1320309"/>
                          <a:pt x="369735" y="1314798"/>
                        </a:cubicBezTo>
                        <a:close/>
                        <a:moveTo>
                          <a:pt x="140687" y="1309718"/>
                        </a:moveTo>
                        <a:lnTo>
                          <a:pt x="110683" y="1332578"/>
                        </a:lnTo>
                        <a:lnTo>
                          <a:pt x="140687" y="1355438"/>
                        </a:lnTo>
                        <a:lnTo>
                          <a:pt x="156403" y="1355438"/>
                        </a:lnTo>
                        <a:lnTo>
                          <a:pt x="133275" y="1337817"/>
                        </a:lnTo>
                        <a:lnTo>
                          <a:pt x="218881" y="1337817"/>
                        </a:lnTo>
                        <a:lnTo>
                          <a:pt x="218881" y="1328673"/>
                        </a:lnTo>
                        <a:lnTo>
                          <a:pt x="131524" y="1328673"/>
                        </a:lnTo>
                        <a:lnTo>
                          <a:pt x="156403" y="1309718"/>
                        </a:lnTo>
                        <a:close/>
                        <a:moveTo>
                          <a:pt x="341326" y="1303311"/>
                        </a:moveTo>
                        <a:cubicBezTo>
                          <a:pt x="330365" y="1302817"/>
                          <a:pt x="321446" y="1307351"/>
                          <a:pt x="317323" y="1308656"/>
                        </a:cubicBezTo>
                        <a:lnTo>
                          <a:pt x="305799" y="1349742"/>
                        </a:lnTo>
                        <a:cubicBezTo>
                          <a:pt x="332438" y="1338385"/>
                          <a:pt x="344297" y="1348072"/>
                          <a:pt x="350393" y="1351996"/>
                        </a:cubicBezTo>
                        <a:lnTo>
                          <a:pt x="362668" y="1311412"/>
                        </a:lnTo>
                        <a:cubicBezTo>
                          <a:pt x="355215" y="1305713"/>
                          <a:pt x="347903" y="1303607"/>
                          <a:pt x="341326" y="1303311"/>
                        </a:cubicBezTo>
                        <a:close/>
                        <a:moveTo>
                          <a:pt x="609845" y="1293468"/>
                        </a:moveTo>
                        <a:cubicBezTo>
                          <a:pt x="615874" y="1293468"/>
                          <a:pt x="620761" y="1298355"/>
                          <a:pt x="620761" y="1304384"/>
                        </a:cubicBezTo>
                        <a:cubicBezTo>
                          <a:pt x="620761" y="1310412"/>
                          <a:pt x="615874" y="1315299"/>
                          <a:pt x="609845" y="1315299"/>
                        </a:cubicBezTo>
                        <a:cubicBezTo>
                          <a:pt x="603816" y="1315299"/>
                          <a:pt x="598929" y="1310412"/>
                          <a:pt x="598929" y="1304384"/>
                        </a:cubicBezTo>
                        <a:cubicBezTo>
                          <a:pt x="598929" y="1298355"/>
                          <a:pt x="603816" y="1293468"/>
                          <a:pt x="609845" y="1293468"/>
                        </a:cubicBezTo>
                        <a:close/>
                        <a:moveTo>
                          <a:pt x="609845" y="1272471"/>
                        </a:moveTo>
                        <a:cubicBezTo>
                          <a:pt x="592965" y="1272471"/>
                          <a:pt x="579282" y="1286759"/>
                          <a:pt x="579282" y="1304384"/>
                        </a:cubicBezTo>
                        <a:cubicBezTo>
                          <a:pt x="579282" y="1307127"/>
                          <a:pt x="579613" y="1309790"/>
                          <a:pt x="580345" y="1312304"/>
                        </a:cubicBezTo>
                        <a:lnTo>
                          <a:pt x="545743" y="1335166"/>
                        </a:lnTo>
                        <a:cubicBezTo>
                          <a:pt x="543087" y="1336921"/>
                          <a:pt x="542356" y="1340498"/>
                          <a:pt x="544112" y="1343154"/>
                        </a:cubicBezTo>
                        <a:lnTo>
                          <a:pt x="547808" y="1348749"/>
                        </a:lnTo>
                        <a:cubicBezTo>
                          <a:pt x="549564" y="1351406"/>
                          <a:pt x="553140" y="1352136"/>
                          <a:pt x="555796" y="1350381"/>
                        </a:cubicBezTo>
                        <a:lnTo>
                          <a:pt x="589546" y="1328081"/>
                        </a:lnTo>
                        <a:cubicBezTo>
                          <a:pt x="594873" y="1333223"/>
                          <a:pt x="602015" y="1336297"/>
                          <a:pt x="609845" y="1336297"/>
                        </a:cubicBezTo>
                        <a:cubicBezTo>
                          <a:pt x="626724" y="1336297"/>
                          <a:pt x="640408" y="1322009"/>
                          <a:pt x="640408" y="1304384"/>
                        </a:cubicBezTo>
                        <a:cubicBezTo>
                          <a:pt x="640408" y="1286759"/>
                          <a:pt x="626724" y="1272471"/>
                          <a:pt x="609845" y="1272471"/>
                        </a:cubicBezTo>
                        <a:close/>
                        <a:moveTo>
                          <a:pt x="383263" y="1263939"/>
                        </a:moveTo>
                        <a:lnTo>
                          <a:pt x="371238" y="1303772"/>
                        </a:lnTo>
                        <a:cubicBezTo>
                          <a:pt x="376917" y="1308115"/>
                          <a:pt x="393618" y="1319472"/>
                          <a:pt x="418838" y="1307781"/>
                        </a:cubicBezTo>
                        <a:lnTo>
                          <a:pt x="430863" y="1266194"/>
                        </a:lnTo>
                        <a:cubicBezTo>
                          <a:pt x="404725" y="1275964"/>
                          <a:pt x="395372" y="1269451"/>
                          <a:pt x="383263" y="1263939"/>
                        </a:cubicBezTo>
                        <a:close/>
                        <a:moveTo>
                          <a:pt x="354354" y="1252330"/>
                        </a:moveTo>
                        <a:cubicBezTo>
                          <a:pt x="343392" y="1251837"/>
                          <a:pt x="334474" y="1256371"/>
                          <a:pt x="330351" y="1257676"/>
                        </a:cubicBezTo>
                        <a:lnTo>
                          <a:pt x="318826" y="1298762"/>
                        </a:lnTo>
                        <a:cubicBezTo>
                          <a:pt x="345466" y="1287405"/>
                          <a:pt x="357324" y="1297092"/>
                          <a:pt x="363420" y="1301016"/>
                        </a:cubicBezTo>
                        <a:lnTo>
                          <a:pt x="375696" y="1260432"/>
                        </a:lnTo>
                        <a:cubicBezTo>
                          <a:pt x="368242" y="1254732"/>
                          <a:pt x="360930" y="1252626"/>
                          <a:pt x="354354" y="1252330"/>
                        </a:cubicBezTo>
                        <a:close/>
                        <a:moveTo>
                          <a:pt x="91262" y="129693"/>
                        </a:moveTo>
                        <a:lnTo>
                          <a:pt x="91262" y="1125642"/>
                        </a:lnTo>
                        <a:lnTo>
                          <a:pt x="645400" y="1125642"/>
                        </a:lnTo>
                        <a:lnTo>
                          <a:pt x="645400" y="129693"/>
                        </a:lnTo>
                        <a:close/>
                        <a:moveTo>
                          <a:pt x="46579" y="0"/>
                        </a:moveTo>
                        <a:lnTo>
                          <a:pt x="690084" y="0"/>
                        </a:lnTo>
                        <a:cubicBezTo>
                          <a:pt x="715809" y="0"/>
                          <a:pt x="736663" y="20854"/>
                          <a:pt x="736663" y="46579"/>
                        </a:cubicBezTo>
                        <a:lnTo>
                          <a:pt x="736663" y="1421963"/>
                        </a:lnTo>
                        <a:cubicBezTo>
                          <a:pt x="736663" y="1447688"/>
                          <a:pt x="715809" y="1468542"/>
                          <a:pt x="690084" y="1468542"/>
                        </a:cubicBezTo>
                        <a:lnTo>
                          <a:pt x="46579" y="1468542"/>
                        </a:lnTo>
                        <a:cubicBezTo>
                          <a:pt x="20854" y="1468542"/>
                          <a:pt x="0" y="1447688"/>
                          <a:pt x="0" y="1421963"/>
                        </a:cubicBezTo>
                        <a:lnTo>
                          <a:pt x="0" y="46579"/>
                        </a:lnTo>
                        <a:cubicBezTo>
                          <a:pt x="0" y="20854"/>
                          <a:pt x="20854" y="0"/>
                          <a:pt x="4657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765" dirty="0">
                      <a:solidFill>
                        <a:srgbClr val="FFFFFF"/>
                      </a:solidFill>
                    </a:endParaRPr>
                  </a:p>
                </p:txBody>
              </p:sp>
            </p:grpSp>
          </p:grpSp>
        </p:grpSp>
        <p:sp>
          <p:nvSpPr>
            <p:cNvPr id="82" name="Rectangle 81"/>
            <p:cNvSpPr/>
            <p:nvPr/>
          </p:nvSpPr>
          <p:spPr bwMode="auto">
            <a:xfrm>
              <a:off x="9591673" y="3243192"/>
              <a:ext cx="3968425" cy="862398"/>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12" tIns="44812" rIns="44812" bIns="44812" numCol="1" rtlCol="0" anchor="b" anchorCtr="0" compatLnSpc="1">
              <a:prstTxWarp prst="textNoShape">
                <a:avLst/>
              </a:prstTxWarp>
            </a:bodyPr>
            <a:lstStyle/>
            <a:p>
              <a:pPr algn="ctr" defTabSz="913731" fontAlgn="base">
                <a:spcBef>
                  <a:spcPct val="0"/>
                </a:spcBef>
                <a:spcAft>
                  <a:spcPct val="0"/>
                </a:spcAft>
              </a:pPr>
              <a:endParaRPr lang="en-US" sz="882" dirty="0">
                <a:solidFill>
                  <a:srgbClr val="FFFFFF"/>
                </a:solidFill>
              </a:endParaRPr>
            </a:p>
          </p:txBody>
        </p:sp>
        <p:grpSp>
          <p:nvGrpSpPr>
            <p:cNvPr id="83" name="Group 82"/>
            <p:cNvGrpSpPr/>
            <p:nvPr/>
          </p:nvGrpSpPr>
          <p:grpSpPr>
            <a:xfrm>
              <a:off x="9591673" y="4166361"/>
              <a:ext cx="3968425" cy="1785567"/>
              <a:chOff x="1323015" y="4465199"/>
              <a:chExt cx="3968425" cy="1785567"/>
            </a:xfrm>
          </p:grpSpPr>
          <p:grpSp>
            <p:nvGrpSpPr>
              <p:cNvPr id="96" name="Group 95"/>
              <p:cNvGrpSpPr/>
              <p:nvPr/>
            </p:nvGrpSpPr>
            <p:grpSpPr>
              <a:xfrm>
                <a:off x="1323015" y="4465199"/>
                <a:ext cx="3968425" cy="1785567"/>
                <a:chOff x="554883" y="1913315"/>
                <a:chExt cx="3702792" cy="1666047"/>
              </a:xfrm>
            </p:grpSpPr>
            <p:sp>
              <p:nvSpPr>
                <p:cNvPr id="100" name="Rectangle 99"/>
                <p:cNvSpPr/>
                <p:nvPr/>
              </p:nvSpPr>
              <p:spPr bwMode="auto">
                <a:xfrm>
                  <a:off x="554883" y="1913315"/>
                  <a:ext cx="3702792" cy="804672"/>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12" tIns="44812" rIns="44812" bIns="44812" numCol="1" rtlCol="0" anchor="b" anchorCtr="0" compatLnSpc="1">
                  <a:prstTxWarp prst="textNoShape">
                    <a:avLst/>
                  </a:prstTxWarp>
                </a:bodyPr>
                <a:lstStyle/>
                <a:p>
                  <a:pPr algn="ctr" defTabSz="913731" fontAlgn="base">
                    <a:spcBef>
                      <a:spcPct val="0"/>
                    </a:spcBef>
                    <a:spcAft>
                      <a:spcPct val="0"/>
                    </a:spcAft>
                  </a:pPr>
                  <a:endParaRPr lang="en-US" sz="1029" dirty="0">
                    <a:solidFill>
                      <a:srgbClr val="FFFFFF"/>
                    </a:solidFill>
                    <a:latin typeface="Segoe UI Light"/>
                  </a:endParaRPr>
                </a:p>
              </p:txBody>
            </p:sp>
            <p:sp>
              <p:nvSpPr>
                <p:cNvPr id="101" name="Rectangle 100"/>
                <p:cNvSpPr/>
                <p:nvPr/>
              </p:nvSpPr>
              <p:spPr bwMode="auto">
                <a:xfrm>
                  <a:off x="554883" y="2774690"/>
                  <a:ext cx="3702792" cy="804672"/>
                </a:xfrm>
                <a:prstGeom prst="rect">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12" tIns="44812" rIns="44812" bIns="44812" numCol="1" rtlCol="0" anchor="b" anchorCtr="0" compatLnSpc="1">
                  <a:prstTxWarp prst="textNoShape">
                    <a:avLst/>
                  </a:prstTxWarp>
                </a:bodyPr>
                <a:lstStyle/>
                <a:p>
                  <a:pPr algn="ctr" defTabSz="913731" fontAlgn="base">
                    <a:spcBef>
                      <a:spcPct val="0"/>
                    </a:spcBef>
                    <a:spcAft>
                      <a:spcPct val="0"/>
                    </a:spcAft>
                  </a:pPr>
                  <a:endParaRPr lang="en-US" sz="1029" dirty="0">
                    <a:solidFill>
                      <a:srgbClr val="FFFFFF"/>
                    </a:solidFill>
                    <a:latin typeface="Segoe UI Light"/>
                  </a:endParaRPr>
                </a:p>
              </p:txBody>
            </p:sp>
            <p:grpSp>
              <p:nvGrpSpPr>
                <p:cNvPr id="102" name="Group 101"/>
                <p:cNvGrpSpPr/>
                <p:nvPr/>
              </p:nvGrpSpPr>
              <p:grpSpPr>
                <a:xfrm>
                  <a:off x="2419804" y="1972751"/>
                  <a:ext cx="868680" cy="685800"/>
                  <a:chOff x="-1741957" y="2072169"/>
                  <a:chExt cx="868680" cy="685800"/>
                </a:xfrm>
              </p:grpSpPr>
              <p:sp>
                <p:nvSpPr>
                  <p:cNvPr id="110" name="Rectangle 109"/>
                  <p:cNvSpPr/>
                  <p:nvPr/>
                </p:nvSpPr>
                <p:spPr bwMode="auto">
                  <a:xfrm>
                    <a:off x="-1741957" y="2072169"/>
                    <a:ext cx="868680" cy="685800"/>
                  </a:xfrm>
                  <a:prstGeom prst="rect">
                    <a:avLst/>
                  </a:prstGeom>
                  <a:solidFill>
                    <a:schemeClr val="bg1">
                      <a:alpha val="10000"/>
                    </a:schemeClr>
                  </a:solidFill>
                  <a:ln w="3175">
                    <a:solidFill>
                      <a:schemeClr val="bg1">
                        <a:lumMod val="9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5" tIns="45703" rIns="91405" bIns="45703" numCol="1" rtlCol="0" anchor="b" anchorCtr="0" compatLnSpc="1">
                    <a:prstTxWarp prst="textNoShape">
                      <a:avLst/>
                    </a:prstTxWarp>
                  </a:bodyPr>
                  <a:lstStyle/>
                  <a:p>
                    <a:pPr algn="ctr" defTabSz="913731" fontAlgn="base">
                      <a:spcBef>
                        <a:spcPct val="0"/>
                      </a:spcBef>
                      <a:spcAft>
                        <a:spcPct val="0"/>
                      </a:spcAft>
                    </a:pPr>
                    <a:r>
                      <a:rPr lang="en-US" sz="980" b="1" dirty="0">
                        <a:solidFill>
                          <a:srgbClr val="FFFFFF"/>
                        </a:solidFill>
                        <a:latin typeface="Segoe UI Light"/>
                      </a:rPr>
                      <a:t>HPC</a:t>
                    </a:r>
                  </a:p>
                </p:txBody>
              </p:sp>
              <p:grpSp>
                <p:nvGrpSpPr>
                  <p:cNvPr id="113" name="Group 112"/>
                  <p:cNvGrpSpPr/>
                  <p:nvPr/>
                </p:nvGrpSpPr>
                <p:grpSpPr>
                  <a:xfrm>
                    <a:off x="-1522472" y="2152693"/>
                    <a:ext cx="429710" cy="387648"/>
                    <a:chOff x="1302898" y="1640683"/>
                    <a:chExt cx="1201027" cy="1083468"/>
                  </a:xfrm>
                  <a:solidFill>
                    <a:schemeClr val="bg1"/>
                  </a:solidFill>
                </p:grpSpPr>
                <p:sp>
                  <p:nvSpPr>
                    <p:cNvPr id="115" name="Freeform 114"/>
                    <p:cNvSpPr/>
                    <p:nvPr/>
                  </p:nvSpPr>
                  <p:spPr>
                    <a:xfrm>
                      <a:off x="1334727" y="1710961"/>
                      <a:ext cx="508874" cy="967946"/>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solidFill>
                        <a:schemeClr val="bg1"/>
                      </a:solidFill>
                      <a:prstDash val="solid"/>
                    </a:ln>
                    <a:effectLst/>
                  </p:spPr>
                  <p:txBody>
                    <a:bodyPr vert="horz" wrap="square" lIns="89621" tIns="44810" rIns="89621" bIns="44810"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5902" fontAlgn="base">
                        <a:spcBef>
                          <a:spcPct val="0"/>
                        </a:spcBef>
                        <a:spcAft>
                          <a:spcPct val="0"/>
                        </a:spcAft>
                        <a:defRPr/>
                      </a:pPr>
                      <a:endParaRPr lang="en-US" sz="2745" kern="0" dirty="0">
                        <a:gradFill>
                          <a:gsLst>
                            <a:gs pos="0">
                              <a:srgbClr val="FFFFFF"/>
                            </a:gs>
                            <a:gs pos="100000">
                              <a:srgbClr val="FFFFFF"/>
                            </a:gs>
                          </a:gsLst>
                          <a:lin ang="5400000" scaled="0"/>
                        </a:gradFill>
                        <a:latin typeface="Segoe UI Light"/>
                      </a:endParaRPr>
                    </a:p>
                  </p:txBody>
                </p:sp>
                <p:sp>
                  <p:nvSpPr>
                    <p:cNvPr id="116" name="Freeform 115"/>
                    <p:cNvSpPr/>
                    <p:nvPr/>
                  </p:nvSpPr>
                  <p:spPr>
                    <a:xfrm>
                      <a:off x="1638882" y="1788321"/>
                      <a:ext cx="471344" cy="774530"/>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solidFill>
                        <a:schemeClr val="bg1"/>
                      </a:solidFill>
                      <a:prstDash val="solid"/>
                    </a:ln>
                    <a:effectLst/>
                  </p:spPr>
                  <p:txBody>
                    <a:bodyPr vert="horz" wrap="square" lIns="89621" tIns="44810" rIns="89621" bIns="44810"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5902" fontAlgn="base">
                        <a:spcBef>
                          <a:spcPct val="0"/>
                        </a:spcBef>
                        <a:spcAft>
                          <a:spcPct val="0"/>
                        </a:spcAft>
                        <a:defRPr/>
                      </a:pPr>
                      <a:endParaRPr lang="en-US" sz="2745" kern="0" dirty="0">
                        <a:gradFill>
                          <a:gsLst>
                            <a:gs pos="0">
                              <a:srgbClr val="FFFFFF"/>
                            </a:gs>
                            <a:gs pos="100000">
                              <a:srgbClr val="FFFFFF"/>
                            </a:gs>
                          </a:gsLst>
                          <a:lin ang="5400000" scaled="0"/>
                        </a:gradFill>
                        <a:latin typeface="Segoe UI Light"/>
                      </a:endParaRPr>
                    </a:p>
                  </p:txBody>
                </p:sp>
                <p:sp>
                  <p:nvSpPr>
                    <p:cNvPr id="117" name="Freeform 116"/>
                    <p:cNvSpPr/>
                    <p:nvPr/>
                  </p:nvSpPr>
                  <p:spPr>
                    <a:xfrm>
                      <a:off x="1927971" y="1866901"/>
                      <a:ext cx="377517" cy="607695"/>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solidFill>
                        <a:schemeClr val="bg1"/>
                      </a:solidFill>
                      <a:prstDash val="solid"/>
                    </a:ln>
                    <a:effectLst/>
                  </p:spPr>
                  <p:txBody>
                    <a:bodyPr vert="horz" wrap="square" lIns="89621" tIns="44810" rIns="89621" bIns="44810"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5902" fontAlgn="base">
                        <a:spcBef>
                          <a:spcPct val="0"/>
                        </a:spcBef>
                        <a:spcAft>
                          <a:spcPct val="0"/>
                        </a:spcAft>
                        <a:defRPr/>
                      </a:pPr>
                      <a:endParaRPr lang="en-US" sz="2745" kern="0" dirty="0">
                        <a:gradFill>
                          <a:gsLst>
                            <a:gs pos="0">
                              <a:srgbClr val="FFFFFF"/>
                            </a:gs>
                            <a:gs pos="100000">
                              <a:srgbClr val="FFFFFF"/>
                            </a:gs>
                          </a:gsLst>
                          <a:lin ang="5400000" scaled="0"/>
                        </a:gradFill>
                        <a:latin typeface="Segoe UI Light"/>
                      </a:endParaRPr>
                    </a:p>
                  </p:txBody>
                </p:sp>
                <p:sp>
                  <p:nvSpPr>
                    <p:cNvPr id="118" name="Freeform 117"/>
                    <p:cNvSpPr/>
                    <p:nvPr/>
                  </p:nvSpPr>
                  <p:spPr>
                    <a:xfrm>
                      <a:off x="2175592" y="1926432"/>
                      <a:ext cx="287782" cy="47863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grpFill/>
                    <a:ln w="9525" cap="flat" cmpd="sng" algn="ctr">
                      <a:solidFill>
                        <a:schemeClr val="bg1"/>
                      </a:solidFill>
                      <a:prstDash val="solid"/>
                    </a:ln>
                    <a:effectLst/>
                  </p:spPr>
                  <p:txBody>
                    <a:bodyPr vert="horz" wrap="square" lIns="89621" tIns="44810" rIns="89621" bIns="44810"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895902" fontAlgn="base">
                        <a:spcBef>
                          <a:spcPct val="0"/>
                        </a:spcBef>
                        <a:spcAft>
                          <a:spcPct val="0"/>
                        </a:spcAft>
                        <a:defRPr/>
                      </a:pPr>
                      <a:endParaRPr lang="en-US" sz="2745" kern="0" dirty="0">
                        <a:gradFill>
                          <a:gsLst>
                            <a:gs pos="0">
                              <a:srgbClr val="FFFFFF"/>
                            </a:gs>
                            <a:gs pos="100000">
                              <a:srgbClr val="FFFFFF"/>
                            </a:gs>
                          </a:gsLst>
                          <a:lin ang="5400000" scaled="0"/>
                        </a:gradFill>
                        <a:latin typeface="Segoe UI Light"/>
                      </a:endParaRPr>
                    </a:p>
                  </p:txBody>
                </p:sp>
                <p:sp>
                  <p:nvSpPr>
                    <p:cNvPr id="119" name="Freeform 118"/>
                    <p:cNvSpPr/>
                    <p:nvPr/>
                  </p:nvSpPr>
                  <p:spPr bwMode="auto">
                    <a:xfrm>
                      <a:off x="1302898" y="1640683"/>
                      <a:ext cx="1201027" cy="1083468"/>
                    </a:xfrm>
                    <a:custGeom>
                      <a:avLst/>
                      <a:gdLst>
                        <a:gd name="connsiteX0" fmla="*/ 7144 w 1352550"/>
                        <a:gd name="connsiteY0" fmla="*/ 54769 h 1064419"/>
                        <a:gd name="connsiteX1" fmla="*/ 381000 w 1352550"/>
                        <a:gd name="connsiteY1" fmla="*/ 0 h 1064419"/>
                        <a:gd name="connsiteX2" fmla="*/ 1352550 w 1352550"/>
                        <a:gd name="connsiteY2" fmla="*/ 328613 h 1064419"/>
                        <a:gd name="connsiteX3" fmla="*/ 1345407 w 1352550"/>
                        <a:gd name="connsiteY3" fmla="*/ 676275 h 1064419"/>
                        <a:gd name="connsiteX4" fmla="*/ 371475 w 1352550"/>
                        <a:gd name="connsiteY4" fmla="*/ 1064419 h 1064419"/>
                        <a:gd name="connsiteX5" fmla="*/ 0 w 1352550"/>
                        <a:gd name="connsiteY5" fmla="*/ 992981 h 1064419"/>
                        <a:gd name="connsiteX6" fmla="*/ 7144 w 1352550"/>
                        <a:gd name="connsiteY6" fmla="*/ 54769 h 1064419"/>
                        <a:gd name="connsiteX0" fmla="*/ 7144 w 1352550"/>
                        <a:gd name="connsiteY0" fmla="*/ 43588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7144 w 1352550"/>
                        <a:gd name="connsiteY6" fmla="*/ 43588 h 1053238"/>
                        <a:gd name="connsiteX0" fmla="*/ 37940 w 1352550"/>
                        <a:gd name="connsiteY0" fmla="*/ 65949 h 1053238"/>
                        <a:gd name="connsiteX1" fmla="*/ 416928 w 1352550"/>
                        <a:gd name="connsiteY1" fmla="*/ 0 h 1053238"/>
                        <a:gd name="connsiteX2" fmla="*/ 1352550 w 1352550"/>
                        <a:gd name="connsiteY2" fmla="*/ 317432 h 1053238"/>
                        <a:gd name="connsiteX3" fmla="*/ 1345407 w 1352550"/>
                        <a:gd name="connsiteY3" fmla="*/ 665094 h 1053238"/>
                        <a:gd name="connsiteX4" fmla="*/ 371475 w 1352550"/>
                        <a:gd name="connsiteY4" fmla="*/ 1053238 h 1053238"/>
                        <a:gd name="connsiteX5" fmla="*/ 0 w 1352550"/>
                        <a:gd name="connsiteY5" fmla="*/ 981800 h 1053238"/>
                        <a:gd name="connsiteX6" fmla="*/ 37940 w 1352550"/>
                        <a:gd name="connsiteY6" fmla="*/ 65949 h 1053238"/>
                        <a:gd name="connsiteX0" fmla="*/ 720 w 1315330"/>
                        <a:gd name="connsiteY0" fmla="*/ 65949 h 1053238"/>
                        <a:gd name="connsiteX1" fmla="*/ 379708 w 1315330"/>
                        <a:gd name="connsiteY1" fmla="*/ 0 h 1053238"/>
                        <a:gd name="connsiteX2" fmla="*/ 1315330 w 1315330"/>
                        <a:gd name="connsiteY2" fmla="*/ 317432 h 1053238"/>
                        <a:gd name="connsiteX3" fmla="*/ 1308187 w 1315330"/>
                        <a:gd name="connsiteY3" fmla="*/ 665094 h 1053238"/>
                        <a:gd name="connsiteX4" fmla="*/ 334255 w 1315330"/>
                        <a:gd name="connsiteY4" fmla="*/ 1053238 h 1053238"/>
                        <a:gd name="connsiteX5" fmla="*/ 8975 w 1315330"/>
                        <a:gd name="connsiteY5" fmla="*/ 950494 h 1053238"/>
                        <a:gd name="connsiteX6" fmla="*/ 720 w 1315330"/>
                        <a:gd name="connsiteY6" fmla="*/ 65949 h 1053238"/>
                        <a:gd name="connsiteX0" fmla="*/ 720 w 1315330"/>
                        <a:gd name="connsiteY0" fmla="*/ 65949 h 1004042"/>
                        <a:gd name="connsiteX1" fmla="*/ 379708 w 1315330"/>
                        <a:gd name="connsiteY1" fmla="*/ 0 h 1004042"/>
                        <a:gd name="connsiteX2" fmla="*/ 1315330 w 1315330"/>
                        <a:gd name="connsiteY2" fmla="*/ 317432 h 1004042"/>
                        <a:gd name="connsiteX3" fmla="*/ 1308187 w 1315330"/>
                        <a:gd name="connsiteY3" fmla="*/ 665094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323584"/>
                        <a:gd name="connsiteY0" fmla="*/ 65949 h 1004042"/>
                        <a:gd name="connsiteX1" fmla="*/ 379708 w 1323584"/>
                        <a:gd name="connsiteY1" fmla="*/ 0 h 1004042"/>
                        <a:gd name="connsiteX2" fmla="*/ 1315330 w 1323584"/>
                        <a:gd name="connsiteY2" fmla="*/ 317432 h 1004042"/>
                        <a:gd name="connsiteX3" fmla="*/ 1323584 w 1323584"/>
                        <a:gd name="connsiteY3" fmla="*/ 680746 h 1004042"/>
                        <a:gd name="connsiteX4" fmla="*/ 372750 w 1323584"/>
                        <a:gd name="connsiteY4" fmla="*/ 1004042 h 1004042"/>
                        <a:gd name="connsiteX5" fmla="*/ 8975 w 1323584"/>
                        <a:gd name="connsiteY5" fmla="*/ 950494 h 1004042"/>
                        <a:gd name="connsiteX6" fmla="*/ 720 w 1323584"/>
                        <a:gd name="connsiteY6" fmla="*/ 65949 h 1004042"/>
                        <a:gd name="connsiteX0" fmla="*/ 720 w 1315330"/>
                        <a:gd name="connsiteY0" fmla="*/ 65949 h 1004042"/>
                        <a:gd name="connsiteX1" fmla="*/ 379708 w 1315330"/>
                        <a:gd name="connsiteY1" fmla="*/ 0 h 1004042"/>
                        <a:gd name="connsiteX2" fmla="*/ 1315330 w 1315330"/>
                        <a:gd name="connsiteY2" fmla="*/ 317432 h 1004042"/>
                        <a:gd name="connsiteX3" fmla="*/ 1287655 w 1315330"/>
                        <a:gd name="connsiteY3" fmla="*/ 689691 h 1004042"/>
                        <a:gd name="connsiteX4" fmla="*/ 372750 w 1315330"/>
                        <a:gd name="connsiteY4" fmla="*/ 1004042 h 1004042"/>
                        <a:gd name="connsiteX5" fmla="*/ 8975 w 1315330"/>
                        <a:gd name="connsiteY5" fmla="*/ 950494 h 1004042"/>
                        <a:gd name="connsiteX6" fmla="*/ 720 w 1315330"/>
                        <a:gd name="connsiteY6" fmla="*/ 65949 h 1004042"/>
                        <a:gd name="connsiteX0" fmla="*/ 720 w 1289666"/>
                        <a:gd name="connsiteY0" fmla="*/ 65949 h 1004042"/>
                        <a:gd name="connsiteX1" fmla="*/ 379708 w 1289666"/>
                        <a:gd name="connsiteY1" fmla="*/ 0 h 1004042"/>
                        <a:gd name="connsiteX2" fmla="*/ 1289666 w 1289666"/>
                        <a:gd name="connsiteY2" fmla="*/ 301780 h 1004042"/>
                        <a:gd name="connsiteX3" fmla="*/ 1287655 w 1289666"/>
                        <a:gd name="connsiteY3" fmla="*/ 689691 h 1004042"/>
                        <a:gd name="connsiteX4" fmla="*/ 372750 w 1289666"/>
                        <a:gd name="connsiteY4" fmla="*/ 1004042 h 1004042"/>
                        <a:gd name="connsiteX5" fmla="*/ 8975 w 1289666"/>
                        <a:gd name="connsiteY5" fmla="*/ 950494 h 1004042"/>
                        <a:gd name="connsiteX6" fmla="*/ 720 w 1289666"/>
                        <a:gd name="connsiteY6" fmla="*/ 65949 h 1004042"/>
                        <a:gd name="connsiteX0" fmla="*/ 720 w 1299931"/>
                        <a:gd name="connsiteY0" fmla="*/ 65949 h 1004042"/>
                        <a:gd name="connsiteX1" fmla="*/ 379708 w 1299931"/>
                        <a:gd name="connsiteY1" fmla="*/ 0 h 1004042"/>
                        <a:gd name="connsiteX2" fmla="*/ 1299931 w 1299931"/>
                        <a:gd name="connsiteY2" fmla="*/ 277928 h 1004042"/>
                        <a:gd name="connsiteX3" fmla="*/ 1287655 w 1299931"/>
                        <a:gd name="connsiteY3" fmla="*/ 689691 h 1004042"/>
                        <a:gd name="connsiteX4" fmla="*/ 372750 w 1299931"/>
                        <a:gd name="connsiteY4" fmla="*/ 1004042 h 1004042"/>
                        <a:gd name="connsiteX5" fmla="*/ 8975 w 1299931"/>
                        <a:gd name="connsiteY5" fmla="*/ 950494 h 1004042"/>
                        <a:gd name="connsiteX6" fmla="*/ 720 w 1299931"/>
                        <a:gd name="connsiteY6" fmla="*/ 65949 h 1004042"/>
                        <a:gd name="connsiteX0" fmla="*/ 720 w 1287705"/>
                        <a:gd name="connsiteY0" fmla="*/ 65949 h 1004042"/>
                        <a:gd name="connsiteX1" fmla="*/ 379708 w 1287705"/>
                        <a:gd name="connsiteY1" fmla="*/ 0 h 1004042"/>
                        <a:gd name="connsiteX2" fmla="*/ 1282822 w 1287705"/>
                        <a:gd name="connsiteY2" fmla="*/ 274946 h 1004042"/>
                        <a:gd name="connsiteX3" fmla="*/ 1287655 w 1287705"/>
                        <a:gd name="connsiteY3" fmla="*/ 689691 h 1004042"/>
                        <a:gd name="connsiteX4" fmla="*/ 372750 w 1287705"/>
                        <a:gd name="connsiteY4" fmla="*/ 1004042 h 1004042"/>
                        <a:gd name="connsiteX5" fmla="*/ 8975 w 1287705"/>
                        <a:gd name="connsiteY5" fmla="*/ 950494 h 1004042"/>
                        <a:gd name="connsiteX6" fmla="*/ 720 w 1287705"/>
                        <a:gd name="connsiteY6" fmla="*/ 65949 h 1004042"/>
                        <a:gd name="connsiteX0" fmla="*/ 720 w 1293087"/>
                        <a:gd name="connsiteY0" fmla="*/ 65949 h 1004042"/>
                        <a:gd name="connsiteX1" fmla="*/ 379708 w 1293087"/>
                        <a:gd name="connsiteY1" fmla="*/ 0 h 1004042"/>
                        <a:gd name="connsiteX2" fmla="*/ 1293087 w 1293087"/>
                        <a:gd name="connsiteY2" fmla="*/ 271965 h 1004042"/>
                        <a:gd name="connsiteX3" fmla="*/ 1287655 w 1293087"/>
                        <a:gd name="connsiteY3" fmla="*/ 689691 h 1004042"/>
                        <a:gd name="connsiteX4" fmla="*/ 372750 w 1293087"/>
                        <a:gd name="connsiteY4" fmla="*/ 1004042 h 1004042"/>
                        <a:gd name="connsiteX5" fmla="*/ 8975 w 1293087"/>
                        <a:gd name="connsiteY5" fmla="*/ 950494 h 1004042"/>
                        <a:gd name="connsiteX6" fmla="*/ 720 w 1293087"/>
                        <a:gd name="connsiteY6" fmla="*/ 65949 h 1004042"/>
                        <a:gd name="connsiteX0" fmla="*/ 12275 w 1304642"/>
                        <a:gd name="connsiteY0" fmla="*/ 65949 h 1004042"/>
                        <a:gd name="connsiteX1" fmla="*/ 391263 w 1304642"/>
                        <a:gd name="connsiteY1" fmla="*/ 0 h 1004042"/>
                        <a:gd name="connsiteX2" fmla="*/ 1304642 w 1304642"/>
                        <a:gd name="connsiteY2" fmla="*/ 271965 h 1004042"/>
                        <a:gd name="connsiteX3" fmla="*/ 1299210 w 1304642"/>
                        <a:gd name="connsiteY3" fmla="*/ 689691 h 1004042"/>
                        <a:gd name="connsiteX4" fmla="*/ 384305 w 1304642"/>
                        <a:gd name="connsiteY4" fmla="*/ 1004042 h 1004042"/>
                        <a:gd name="connsiteX5" fmla="*/ 0 w 1304642"/>
                        <a:gd name="connsiteY5" fmla="*/ 948257 h 1004042"/>
                        <a:gd name="connsiteX6" fmla="*/ 12275 w 1304642"/>
                        <a:gd name="connsiteY6" fmla="*/ 65949 h 1004042"/>
                        <a:gd name="connsiteX0" fmla="*/ 2010 w 1294377"/>
                        <a:gd name="connsiteY0" fmla="*/ 65949 h 1004042"/>
                        <a:gd name="connsiteX1" fmla="*/ 380998 w 1294377"/>
                        <a:gd name="connsiteY1" fmla="*/ 0 h 1004042"/>
                        <a:gd name="connsiteX2" fmla="*/ 1294377 w 1294377"/>
                        <a:gd name="connsiteY2" fmla="*/ 271965 h 1004042"/>
                        <a:gd name="connsiteX3" fmla="*/ 1288945 w 1294377"/>
                        <a:gd name="connsiteY3" fmla="*/ 689691 h 1004042"/>
                        <a:gd name="connsiteX4" fmla="*/ 374040 w 1294377"/>
                        <a:gd name="connsiteY4" fmla="*/ 1004042 h 1004042"/>
                        <a:gd name="connsiteX5" fmla="*/ 0 w 1294377"/>
                        <a:gd name="connsiteY5" fmla="*/ 946021 h 1004042"/>
                        <a:gd name="connsiteX6" fmla="*/ 2010 w 1294377"/>
                        <a:gd name="connsiteY6" fmla="*/ 65949 h 1004042"/>
                        <a:gd name="connsiteX0" fmla="*/ 2010 w 1294377"/>
                        <a:gd name="connsiteY0" fmla="*/ 65949 h 1017459"/>
                        <a:gd name="connsiteX1" fmla="*/ 380998 w 1294377"/>
                        <a:gd name="connsiteY1" fmla="*/ 0 h 1017459"/>
                        <a:gd name="connsiteX2" fmla="*/ 1294377 w 1294377"/>
                        <a:gd name="connsiteY2" fmla="*/ 271965 h 1017459"/>
                        <a:gd name="connsiteX3" fmla="*/ 1288945 w 1294377"/>
                        <a:gd name="connsiteY3" fmla="*/ 689691 h 1017459"/>
                        <a:gd name="connsiteX4" fmla="*/ 371474 w 1294377"/>
                        <a:gd name="connsiteY4" fmla="*/ 1017459 h 1017459"/>
                        <a:gd name="connsiteX5" fmla="*/ 0 w 1294377"/>
                        <a:gd name="connsiteY5" fmla="*/ 946021 h 1017459"/>
                        <a:gd name="connsiteX6" fmla="*/ 2010 w 1294377"/>
                        <a:gd name="connsiteY6" fmla="*/ 65949 h 10174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94377" h="1017459">
                          <a:moveTo>
                            <a:pt x="2010" y="65949"/>
                          </a:moveTo>
                          <a:lnTo>
                            <a:pt x="380998" y="0"/>
                          </a:lnTo>
                          <a:lnTo>
                            <a:pt x="1294377" y="271965"/>
                          </a:lnTo>
                          <a:cubicBezTo>
                            <a:pt x="1293707" y="401269"/>
                            <a:pt x="1289615" y="560387"/>
                            <a:pt x="1288945" y="689691"/>
                          </a:cubicBezTo>
                          <a:lnTo>
                            <a:pt x="371474" y="1017459"/>
                          </a:lnTo>
                          <a:lnTo>
                            <a:pt x="0" y="946021"/>
                          </a:lnTo>
                          <a:cubicBezTo>
                            <a:pt x="1588" y="631696"/>
                            <a:pt x="-1959" y="375511"/>
                            <a:pt x="2010" y="65949"/>
                          </a:cubicBezTo>
                          <a:close/>
                        </a:path>
                      </a:pathLst>
                    </a:custGeom>
                    <a:noFill/>
                    <a:ln w="9525">
                      <a:solidFill>
                        <a:schemeClr val="bg1"/>
                      </a:solid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89625" tIns="44812" rIns="44812" bIns="89625"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895902" fontAlgn="base">
                        <a:spcBef>
                          <a:spcPct val="0"/>
                        </a:spcBef>
                        <a:spcAft>
                          <a:spcPct val="0"/>
                        </a:spcAft>
                      </a:pPr>
                      <a:endParaRPr lang="en-US" sz="2352"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grpSp>
              <p:nvGrpSpPr>
                <p:cNvPr id="103" name="Group 102"/>
                <p:cNvGrpSpPr/>
                <p:nvPr/>
              </p:nvGrpSpPr>
              <p:grpSpPr>
                <a:xfrm>
                  <a:off x="614050" y="2834126"/>
                  <a:ext cx="1773939" cy="685800"/>
                  <a:chOff x="-3552475" y="2908379"/>
                  <a:chExt cx="1773939" cy="685800"/>
                </a:xfrm>
              </p:grpSpPr>
              <p:sp>
                <p:nvSpPr>
                  <p:cNvPr id="104" name="Rectangle 103"/>
                  <p:cNvSpPr/>
                  <p:nvPr/>
                </p:nvSpPr>
                <p:spPr bwMode="auto">
                  <a:xfrm>
                    <a:off x="-3552475" y="2908379"/>
                    <a:ext cx="868680" cy="685800"/>
                  </a:xfrm>
                  <a:prstGeom prst="rect">
                    <a:avLst/>
                  </a:prstGeom>
                  <a:solidFill>
                    <a:schemeClr val="bg1">
                      <a:alpha val="10000"/>
                    </a:schemeClr>
                  </a:solidFill>
                  <a:ln w="3175">
                    <a:solidFill>
                      <a:schemeClr val="bg1">
                        <a:lumMod val="9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5" tIns="45703" rIns="91405" bIns="45703" numCol="1" rtlCol="0" anchor="b" anchorCtr="0" compatLnSpc="1">
                    <a:prstTxWarp prst="textNoShape">
                      <a:avLst/>
                    </a:prstTxWarp>
                  </a:bodyPr>
                  <a:lstStyle/>
                  <a:p>
                    <a:pPr algn="ctr" defTabSz="913731" fontAlgn="base">
                      <a:spcBef>
                        <a:spcPct val="0"/>
                      </a:spcBef>
                      <a:spcAft>
                        <a:spcPct val="0"/>
                      </a:spcAft>
                    </a:pPr>
                    <a:r>
                      <a:rPr lang="en-US" sz="980" b="1" dirty="0">
                        <a:solidFill>
                          <a:srgbClr val="FFFFFF"/>
                        </a:solidFill>
                        <a:latin typeface="Segoe UI Light"/>
                      </a:rPr>
                      <a:t>Automation</a:t>
                    </a:r>
                  </a:p>
                </p:txBody>
              </p:sp>
              <p:sp>
                <p:nvSpPr>
                  <p:cNvPr id="105" name="Rectangle 104"/>
                  <p:cNvSpPr/>
                  <p:nvPr/>
                </p:nvSpPr>
                <p:spPr bwMode="auto">
                  <a:xfrm>
                    <a:off x="-2647216" y="2908379"/>
                    <a:ext cx="868680" cy="685800"/>
                  </a:xfrm>
                  <a:prstGeom prst="rect">
                    <a:avLst/>
                  </a:prstGeom>
                  <a:solidFill>
                    <a:schemeClr val="bg1">
                      <a:alpha val="10000"/>
                    </a:schemeClr>
                  </a:solidFill>
                  <a:ln w="3175">
                    <a:solidFill>
                      <a:schemeClr val="bg1">
                        <a:lumMod val="9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5" tIns="45703" rIns="91405" bIns="45703" numCol="1" rtlCol="0" anchor="b" anchorCtr="0" compatLnSpc="1">
                    <a:prstTxWarp prst="textNoShape">
                      <a:avLst/>
                    </a:prstTxWarp>
                  </a:bodyPr>
                  <a:lstStyle/>
                  <a:p>
                    <a:pPr algn="ctr" defTabSz="913731" fontAlgn="base">
                      <a:spcBef>
                        <a:spcPct val="0"/>
                      </a:spcBef>
                      <a:spcAft>
                        <a:spcPct val="0"/>
                      </a:spcAft>
                    </a:pPr>
                    <a:r>
                      <a:rPr lang="en-US" sz="980" b="1" dirty="0">
                        <a:solidFill>
                          <a:srgbClr val="FFFFFF"/>
                        </a:solidFill>
                        <a:latin typeface="Segoe UI Light"/>
                      </a:rPr>
                      <a:t>CDN</a:t>
                    </a:r>
                  </a:p>
                </p:txBody>
              </p:sp>
              <p:sp>
                <p:nvSpPr>
                  <p:cNvPr id="107" name="Block Arc 6"/>
                  <p:cNvSpPr/>
                  <p:nvPr/>
                </p:nvSpPr>
                <p:spPr>
                  <a:xfrm>
                    <a:off x="-3304500" y="2976089"/>
                    <a:ext cx="372730" cy="372730"/>
                  </a:xfrm>
                  <a:custGeom>
                    <a:avLst/>
                    <a:gdLst/>
                    <a:ahLst/>
                    <a:cxnLst/>
                    <a:rect l="l" t="t" r="r" b="b"/>
                    <a:pathLst>
                      <a:path w="2936350" h="2936350">
                        <a:moveTo>
                          <a:pt x="1468175" y="1289581"/>
                        </a:moveTo>
                        <a:cubicBezTo>
                          <a:pt x="1563946" y="1289581"/>
                          <a:pt x="1642109" y="1364963"/>
                          <a:pt x="1645058" y="1459701"/>
                        </a:cubicBezTo>
                        <a:lnTo>
                          <a:pt x="1958717" y="1762599"/>
                        </a:lnTo>
                        <a:cubicBezTo>
                          <a:pt x="2007813" y="1681261"/>
                          <a:pt x="2035913" y="1588465"/>
                          <a:pt x="2040007" y="1492589"/>
                        </a:cubicBezTo>
                        <a:lnTo>
                          <a:pt x="2478230" y="1511298"/>
                        </a:lnTo>
                        <a:cubicBezTo>
                          <a:pt x="2469544" y="1714745"/>
                          <a:pt x="2399657" y="1910343"/>
                          <a:pt x="2275883" y="2070911"/>
                        </a:cubicBezTo>
                        <a:cubicBezTo>
                          <a:pt x="2322484" y="2119427"/>
                          <a:pt x="2322157" y="2196479"/>
                          <a:pt x="2274851" y="2245466"/>
                        </a:cubicBezTo>
                        <a:lnTo>
                          <a:pt x="2274851" y="2245464"/>
                        </a:lnTo>
                        <a:cubicBezTo>
                          <a:pt x="2225843" y="2296213"/>
                          <a:pt x="2144975" y="2297625"/>
                          <a:pt x="2094227" y="2248617"/>
                        </a:cubicBezTo>
                        <a:lnTo>
                          <a:pt x="1470507" y="1646298"/>
                        </a:lnTo>
                        <a:cubicBezTo>
                          <a:pt x="1469735" y="1646764"/>
                          <a:pt x="1468956" y="1646769"/>
                          <a:pt x="1468175" y="1646769"/>
                        </a:cubicBezTo>
                        <a:cubicBezTo>
                          <a:pt x="1369540" y="1646769"/>
                          <a:pt x="1289581" y="1566810"/>
                          <a:pt x="1289581" y="1468175"/>
                        </a:cubicBezTo>
                        <a:cubicBezTo>
                          <a:pt x="1289581" y="1369540"/>
                          <a:pt x="1369540" y="1289581"/>
                          <a:pt x="1468175" y="1289581"/>
                        </a:cubicBezTo>
                        <a:close/>
                        <a:moveTo>
                          <a:pt x="703004" y="807429"/>
                        </a:moveTo>
                        <a:lnTo>
                          <a:pt x="1034982" y="1094100"/>
                        </a:lnTo>
                        <a:cubicBezTo>
                          <a:pt x="952229" y="1189932"/>
                          <a:pt x="903589" y="1310499"/>
                          <a:pt x="896676" y="1436926"/>
                        </a:cubicBezTo>
                        <a:lnTo>
                          <a:pt x="458708" y="1412980"/>
                        </a:lnTo>
                        <a:cubicBezTo>
                          <a:pt x="470919" y="1189665"/>
                          <a:pt x="556834" y="976701"/>
                          <a:pt x="703004" y="807429"/>
                        </a:cubicBezTo>
                        <a:close/>
                        <a:moveTo>
                          <a:pt x="2227598" y="800832"/>
                        </a:moveTo>
                        <a:cubicBezTo>
                          <a:pt x="2375228" y="968832"/>
                          <a:pt x="2462984" y="1181044"/>
                          <a:pt x="2477127" y="1404245"/>
                        </a:cubicBezTo>
                        <a:lnTo>
                          <a:pt x="2039383" y="1431982"/>
                        </a:lnTo>
                        <a:cubicBezTo>
                          <a:pt x="2031376" y="1305619"/>
                          <a:pt x="1981694" y="1185478"/>
                          <a:pt x="1898115" y="1090366"/>
                        </a:cubicBezTo>
                        <a:close/>
                        <a:moveTo>
                          <a:pt x="1540008" y="459756"/>
                        </a:moveTo>
                        <a:cubicBezTo>
                          <a:pt x="1763092" y="475647"/>
                          <a:pt x="1974610" y="565062"/>
                          <a:pt x="2141448" y="714004"/>
                        </a:cubicBezTo>
                        <a:lnTo>
                          <a:pt x="1849342" y="1041209"/>
                        </a:lnTo>
                        <a:cubicBezTo>
                          <a:pt x="1754888" y="956887"/>
                          <a:pt x="1635140" y="906266"/>
                          <a:pt x="1508843" y="897269"/>
                        </a:cubicBezTo>
                        <a:close/>
                        <a:moveTo>
                          <a:pt x="1404245" y="459223"/>
                        </a:moveTo>
                        <a:lnTo>
                          <a:pt x="1431982" y="896967"/>
                        </a:lnTo>
                        <a:cubicBezTo>
                          <a:pt x="1305619" y="904974"/>
                          <a:pt x="1185478" y="954656"/>
                          <a:pt x="1090366" y="1038235"/>
                        </a:cubicBezTo>
                        <a:lnTo>
                          <a:pt x="800832" y="708752"/>
                        </a:lnTo>
                        <a:cubicBezTo>
                          <a:pt x="968832" y="561122"/>
                          <a:pt x="1181044" y="473366"/>
                          <a:pt x="1404245" y="459223"/>
                        </a:cubicBezTo>
                        <a:close/>
                        <a:moveTo>
                          <a:pt x="1468175" y="278278"/>
                        </a:moveTo>
                        <a:cubicBezTo>
                          <a:pt x="811013" y="278278"/>
                          <a:pt x="278278" y="811013"/>
                          <a:pt x="278278" y="1468175"/>
                        </a:cubicBezTo>
                        <a:cubicBezTo>
                          <a:pt x="278278" y="2125337"/>
                          <a:pt x="811013" y="2658072"/>
                          <a:pt x="1468175" y="2658072"/>
                        </a:cubicBezTo>
                        <a:cubicBezTo>
                          <a:pt x="2125337" y="2658072"/>
                          <a:pt x="2658072" y="2125337"/>
                          <a:pt x="2658072" y="1468175"/>
                        </a:cubicBezTo>
                        <a:cubicBezTo>
                          <a:pt x="2658072" y="811013"/>
                          <a:pt x="2125337" y="278278"/>
                          <a:pt x="1468175" y="278278"/>
                        </a:cubicBezTo>
                        <a:close/>
                        <a:moveTo>
                          <a:pt x="1468175" y="0"/>
                        </a:moveTo>
                        <a:cubicBezTo>
                          <a:pt x="2279026" y="0"/>
                          <a:pt x="2936350" y="657324"/>
                          <a:pt x="2936350" y="1468175"/>
                        </a:cubicBezTo>
                        <a:cubicBezTo>
                          <a:pt x="2936350" y="2279026"/>
                          <a:pt x="2279026" y="2936350"/>
                          <a:pt x="1468175" y="2936350"/>
                        </a:cubicBezTo>
                        <a:cubicBezTo>
                          <a:pt x="657324" y="2936350"/>
                          <a:pt x="0" y="2279026"/>
                          <a:pt x="0" y="1468175"/>
                        </a:cubicBezTo>
                        <a:cubicBezTo>
                          <a:pt x="0" y="657324"/>
                          <a:pt x="657324" y="0"/>
                          <a:pt x="146817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25" tIns="89625" rIns="89625" bIns="89625"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568" dirty="0">
                      <a:solidFill>
                        <a:srgbClr val="FFFFFF"/>
                      </a:solidFill>
                      <a:latin typeface="Segoe UI Light"/>
                    </a:endParaRPr>
                  </a:p>
                </p:txBody>
              </p:sp>
            </p:grpSp>
          </p:grpSp>
          <p:grpSp>
            <p:nvGrpSpPr>
              <p:cNvPr id="97" name="Group 96"/>
              <p:cNvGrpSpPr/>
              <p:nvPr/>
            </p:nvGrpSpPr>
            <p:grpSpPr>
              <a:xfrm>
                <a:off x="1385116" y="4528899"/>
                <a:ext cx="930998" cy="734998"/>
                <a:chOff x="606938" y="3708737"/>
                <a:chExt cx="868680" cy="685800"/>
              </a:xfrm>
            </p:grpSpPr>
            <p:sp>
              <p:nvSpPr>
                <p:cNvPr id="98" name="Rectangle 97"/>
                <p:cNvSpPr/>
                <p:nvPr/>
              </p:nvSpPr>
              <p:spPr bwMode="auto">
                <a:xfrm>
                  <a:off x="606938" y="3708737"/>
                  <a:ext cx="868680" cy="685800"/>
                </a:xfrm>
                <a:prstGeom prst="rect">
                  <a:avLst/>
                </a:prstGeom>
                <a:solidFill>
                  <a:schemeClr val="bg1">
                    <a:alpha val="10000"/>
                  </a:schemeClr>
                </a:solidFill>
                <a:ln w="3175">
                  <a:solidFill>
                    <a:schemeClr val="bg1">
                      <a:lumMod val="9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5" tIns="45703" rIns="91405" bIns="45703" numCol="1" rtlCol="0" anchor="b" anchorCtr="0" compatLnSpc="1">
                  <a:prstTxWarp prst="textNoShape">
                    <a:avLst/>
                  </a:prstTxWarp>
                </a:bodyPr>
                <a:lstStyle/>
                <a:p>
                  <a:pPr algn="ctr" defTabSz="913731" fontAlgn="base">
                    <a:spcBef>
                      <a:spcPct val="0"/>
                    </a:spcBef>
                    <a:spcAft>
                      <a:spcPct val="0"/>
                    </a:spcAft>
                  </a:pPr>
                  <a:r>
                    <a:rPr lang="en-US" sz="783" b="1" dirty="0">
                      <a:solidFill>
                        <a:srgbClr val="FFFFFF"/>
                      </a:solidFill>
                    </a:rPr>
                    <a:t>Media</a:t>
                  </a:r>
                </a:p>
              </p:txBody>
            </p:sp>
            <p:sp>
              <p:nvSpPr>
                <p:cNvPr id="99" name="Freeform 98"/>
                <p:cNvSpPr>
                  <a:spLocks noEditPoints="1"/>
                </p:cNvSpPr>
                <p:nvPr/>
              </p:nvSpPr>
              <p:spPr bwMode="black">
                <a:xfrm flipH="1">
                  <a:off x="887172" y="3808706"/>
                  <a:ext cx="308212" cy="308212"/>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chemeClr val="bg1"/>
                </a:solidFill>
                <a:ln>
                  <a:noFill/>
                </a:ln>
                <a:extLst/>
              </p:spPr>
              <p:txBody>
                <a:bodyPr vert="horz" wrap="square" lIns="89625" tIns="44812" rIns="89625" bIns="44812"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765" dirty="0">
                    <a:solidFill>
                      <a:srgbClr val="000000"/>
                    </a:solidFill>
                  </a:endParaRPr>
                </a:p>
              </p:txBody>
            </p:sp>
          </p:grpSp>
        </p:grpSp>
        <p:sp>
          <p:nvSpPr>
            <p:cNvPr id="84" name="Rectangle 83"/>
            <p:cNvSpPr/>
            <p:nvPr/>
          </p:nvSpPr>
          <p:spPr bwMode="auto">
            <a:xfrm>
              <a:off x="12557466" y="5153230"/>
              <a:ext cx="930998" cy="734998"/>
            </a:xfrm>
            <a:prstGeom prst="rect">
              <a:avLst/>
            </a:prstGeom>
            <a:solidFill>
              <a:schemeClr val="bg1">
                <a:alpha val="10000"/>
              </a:schemeClr>
            </a:solidFill>
            <a:ln w="3175">
              <a:solidFill>
                <a:schemeClr val="bg1">
                  <a:lumMod val="9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5" tIns="45703" rIns="91405" bIns="45703" numCol="1" rtlCol="0" anchor="b" anchorCtr="0" compatLnSpc="1">
              <a:prstTxWarp prst="textNoShape">
                <a:avLst/>
              </a:prstTxWarp>
            </a:bodyPr>
            <a:lstStyle/>
            <a:p>
              <a:pPr algn="ctr" defTabSz="913731" fontAlgn="base">
                <a:spcBef>
                  <a:spcPct val="0"/>
                </a:spcBef>
                <a:spcAft>
                  <a:spcPct val="0"/>
                </a:spcAft>
              </a:pPr>
              <a:r>
                <a:rPr lang="en-US" sz="980" b="1" dirty="0">
                  <a:solidFill>
                    <a:srgbClr val="FFFFFF"/>
                  </a:solidFill>
                  <a:latin typeface="Segoe UI Light"/>
                </a:rPr>
                <a:t>Multi-Factor</a:t>
              </a:r>
            </a:p>
          </p:txBody>
        </p:sp>
        <p:sp>
          <p:nvSpPr>
            <p:cNvPr id="85" name="Rounded Rectangle 27"/>
            <p:cNvSpPr/>
            <p:nvPr/>
          </p:nvSpPr>
          <p:spPr>
            <a:xfrm>
              <a:off x="12889152" y="5214560"/>
              <a:ext cx="267626" cy="421943"/>
            </a:xfrm>
            <a:custGeom>
              <a:avLst/>
              <a:gdLst/>
              <a:ahLst/>
              <a:cxnLst/>
              <a:rect l="l" t="t" r="r" b="b"/>
              <a:pathLst>
                <a:path w="2331720" h="3676248">
                  <a:moveTo>
                    <a:pt x="785265" y="1981892"/>
                  </a:moveTo>
                  <a:cubicBezTo>
                    <a:pt x="872246" y="2096903"/>
                    <a:pt x="1010508" y="2170079"/>
                    <a:pt x="1165860" y="2170079"/>
                  </a:cubicBezTo>
                  <a:cubicBezTo>
                    <a:pt x="1321213" y="2170079"/>
                    <a:pt x="1459474" y="2096903"/>
                    <a:pt x="1546455" y="1981892"/>
                  </a:cubicBezTo>
                  <a:cubicBezTo>
                    <a:pt x="1785440" y="2003951"/>
                    <a:pt x="1971675" y="2205654"/>
                    <a:pt x="1971675" y="2450854"/>
                  </a:cubicBezTo>
                  <a:lnTo>
                    <a:pt x="1971675" y="2789788"/>
                  </a:lnTo>
                  <a:lnTo>
                    <a:pt x="360045" y="2789788"/>
                  </a:lnTo>
                  <a:lnTo>
                    <a:pt x="360045" y="2450854"/>
                  </a:lnTo>
                  <a:cubicBezTo>
                    <a:pt x="360045" y="2205654"/>
                    <a:pt x="546281" y="2003951"/>
                    <a:pt x="785265" y="1981892"/>
                  </a:cubicBezTo>
                  <a:close/>
                  <a:moveTo>
                    <a:pt x="1165860" y="1190671"/>
                  </a:moveTo>
                  <a:cubicBezTo>
                    <a:pt x="1404424" y="1190671"/>
                    <a:pt x="1597819" y="1384066"/>
                    <a:pt x="1597819" y="1622630"/>
                  </a:cubicBezTo>
                  <a:cubicBezTo>
                    <a:pt x="1597819" y="1861194"/>
                    <a:pt x="1404424" y="2054589"/>
                    <a:pt x="1165860" y="2054589"/>
                  </a:cubicBezTo>
                  <a:cubicBezTo>
                    <a:pt x="927296" y="2054589"/>
                    <a:pt x="733901" y="1861194"/>
                    <a:pt x="733901" y="1622630"/>
                  </a:cubicBezTo>
                  <a:cubicBezTo>
                    <a:pt x="733901" y="1384066"/>
                    <a:pt x="927296" y="1190671"/>
                    <a:pt x="1165860" y="1190671"/>
                  </a:cubicBezTo>
                  <a:close/>
                  <a:moveTo>
                    <a:pt x="243129" y="976862"/>
                  </a:moveTo>
                  <a:cubicBezTo>
                    <a:pt x="220113" y="976862"/>
                    <a:pt x="201454" y="995521"/>
                    <a:pt x="201454" y="1018537"/>
                  </a:cubicBezTo>
                  <a:lnTo>
                    <a:pt x="201454" y="2773512"/>
                  </a:lnTo>
                  <a:cubicBezTo>
                    <a:pt x="201454" y="2796528"/>
                    <a:pt x="220113" y="2815187"/>
                    <a:pt x="243129" y="2815187"/>
                  </a:cubicBezTo>
                  <a:lnTo>
                    <a:pt x="2088591" y="2815187"/>
                  </a:lnTo>
                  <a:cubicBezTo>
                    <a:pt x="2111607" y="2815187"/>
                    <a:pt x="2130266" y="2796528"/>
                    <a:pt x="2130266" y="2773512"/>
                  </a:cubicBezTo>
                  <a:lnTo>
                    <a:pt x="2130266" y="1018537"/>
                  </a:lnTo>
                  <a:cubicBezTo>
                    <a:pt x="2130266" y="995521"/>
                    <a:pt x="2111607" y="976862"/>
                    <a:pt x="2088591" y="976862"/>
                  </a:cubicBezTo>
                  <a:close/>
                  <a:moveTo>
                    <a:pt x="750570" y="756517"/>
                  </a:moveTo>
                  <a:cubicBezTo>
                    <a:pt x="727424" y="756517"/>
                    <a:pt x="708660" y="775281"/>
                    <a:pt x="708660" y="798427"/>
                  </a:cubicBezTo>
                  <a:cubicBezTo>
                    <a:pt x="708660" y="821573"/>
                    <a:pt x="727424" y="840337"/>
                    <a:pt x="750570" y="840337"/>
                  </a:cubicBezTo>
                  <a:lnTo>
                    <a:pt x="1581150" y="840337"/>
                  </a:lnTo>
                  <a:cubicBezTo>
                    <a:pt x="1604296" y="840337"/>
                    <a:pt x="1623060" y="821573"/>
                    <a:pt x="1623060" y="798427"/>
                  </a:cubicBezTo>
                  <a:cubicBezTo>
                    <a:pt x="1623060" y="775281"/>
                    <a:pt x="1604296" y="756517"/>
                    <a:pt x="1581150" y="756517"/>
                  </a:cubicBezTo>
                  <a:close/>
                  <a:moveTo>
                    <a:pt x="207663" y="567288"/>
                  </a:moveTo>
                  <a:lnTo>
                    <a:pt x="894398" y="567288"/>
                  </a:lnTo>
                  <a:lnTo>
                    <a:pt x="894398" y="722542"/>
                  </a:lnTo>
                  <a:cubicBezTo>
                    <a:pt x="894398" y="729171"/>
                    <a:pt x="899771" y="734544"/>
                    <a:pt x="906400" y="734544"/>
                  </a:cubicBezTo>
                  <a:lnTo>
                    <a:pt x="1425321" y="734544"/>
                  </a:lnTo>
                  <a:cubicBezTo>
                    <a:pt x="1431950" y="734544"/>
                    <a:pt x="1437323" y="729171"/>
                    <a:pt x="1437323" y="722542"/>
                  </a:cubicBezTo>
                  <a:lnTo>
                    <a:pt x="1437323" y="567288"/>
                  </a:lnTo>
                  <a:lnTo>
                    <a:pt x="2124057" y="567288"/>
                  </a:lnTo>
                  <a:cubicBezTo>
                    <a:pt x="2238746" y="567288"/>
                    <a:pt x="2331720" y="660262"/>
                    <a:pt x="2331720" y="774951"/>
                  </a:cubicBezTo>
                  <a:lnTo>
                    <a:pt x="2331720" y="3468585"/>
                  </a:lnTo>
                  <a:cubicBezTo>
                    <a:pt x="2331720" y="3583274"/>
                    <a:pt x="2238746" y="3676248"/>
                    <a:pt x="2124057" y="3676248"/>
                  </a:cubicBezTo>
                  <a:lnTo>
                    <a:pt x="207663" y="3676248"/>
                  </a:lnTo>
                  <a:cubicBezTo>
                    <a:pt x="92974" y="3676248"/>
                    <a:pt x="0" y="3583274"/>
                    <a:pt x="0" y="3468585"/>
                  </a:cubicBezTo>
                  <a:lnTo>
                    <a:pt x="0" y="774951"/>
                  </a:lnTo>
                  <a:cubicBezTo>
                    <a:pt x="0" y="660262"/>
                    <a:pt x="92974" y="567288"/>
                    <a:pt x="207663" y="567288"/>
                  </a:cubicBezTo>
                  <a:close/>
                  <a:moveTo>
                    <a:pt x="1165861" y="471845"/>
                  </a:moveTo>
                  <a:cubicBezTo>
                    <a:pt x="1111677" y="471845"/>
                    <a:pt x="1067753" y="515769"/>
                    <a:pt x="1067753" y="569953"/>
                  </a:cubicBezTo>
                  <a:cubicBezTo>
                    <a:pt x="1067753" y="624137"/>
                    <a:pt x="1111677" y="668061"/>
                    <a:pt x="1165861" y="668061"/>
                  </a:cubicBezTo>
                  <a:cubicBezTo>
                    <a:pt x="1220045" y="668061"/>
                    <a:pt x="1263969" y="624137"/>
                    <a:pt x="1263969" y="569953"/>
                  </a:cubicBezTo>
                  <a:cubicBezTo>
                    <a:pt x="1263969" y="515769"/>
                    <a:pt x="1220045" y="471845"/>
                    <a:pt x="1165861" y="471845"/>
                  </a:cubicBezTo>
                  <a:close/>
                  <a:moveTo>
                    <a:pt x="925402" y="419076"/>
                  </a:moveTo>
                  <a:lnTo>
                    <a:pt x="1406318" y="419076"/>
                  </a:lnTo>
                  <a:cubicBezTo>
                    <a:pt x="1412394" y="419076"/>
                    <a:pt x="1417320" y="424002"/>
                    <a:pt x="1417320" y="430078"/>
                  </a:cubicBezTo>
                  <a:lnTo>
                    <a:pt x="1417320" y="709826"/>
                  </a:lnTo>
                  <a:cubicBezTo>
                    <a:pt x="1417320" y="715902"/>
                    <a:pt x="1412394" y="720828"/>
                    <a:pt x="1406318" y="720828"/>
                  </a:cubicBezTo>
                  <a:lnTo>
                    <a:pt x="925402" y="720828"/>
                  </a:lnTo>
                  <a:cubicBezTo>
                    <a:pt x="919326" y="720828"/>
                    <a:pt x="914400" y="715902"/>
                    <a:pt x="914400" y="709826"/>
                  </a:cubicBezTo>
                  <a:lnTo>
                    <a:pt x="914400" y="430078"/>
                  </a:lnTo>
                  <a:cubicBezTo>
                    <a:pt x="914400" y="424002"/>
                    <a:pt x="919326" y="419076"/>
                    <a:pt x="925402" y="419076"/>
                  </a:cubicBezTo>
                  <a:close/>
                  <a:moveTo>
                    <a:pt x="657701" y="0"/>
                  </a:moveTo>
                  <a:lnTo>
                    <a:pt x="1044535" y="0"/>
                  </a:lnTo>
                  <a:lnTo>
                    <a:pt x="1165860" y="137192"/>
                  </a:lnTo>
                  <a:lnTo>
                    <a:pt x="1287185" y="0"/>
                  </a:lnTo>
                  <a:lnTo>
                    <a:pt x="1674019" y="0"/>
                  </a:lnTo>
                  <a:lnTo>
                    <a:pt x="1417896" y="395838"/>
                  </a:lnTo>
                  <a:lnTo>
                    <a:pt x="913824" y="39583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89625" tIns="89625" rIns="89625" bIns="89625" numCol="1" spcCol="0" rtlCol="0" fromWordArt="0" anchor="b" anchorCtr="0" forceAA="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a:endParaRPr lang="en-US" sz="1568" dirty="0">
                <a:solidFill>
                  <a:srgbClr val="FFFFFF"/>
                </a:solidFill>
                <a:latin typeface="Segoe UI Light"/>
              </a:endParaRPr>
            </a:p>
          </p:txBody>
        </p:sp>
        <p:sp>
          <p:nvSpPr>
            <p:cNvPr id="89" name="Freeform 88"/>
            <p:cNvSpPr/>
            <p:nvPr/>
          </p:nvSpPr>
          <p:spPr bwMode="auto">
            <a:xfrm>
              <a:off x="10827239" y="5267008"/>
              <a:ext cx="526185" cy="369154"/>
            </a:xfrm>
            <a:custGeom>
              <a:avLst/>
              <a:gdLst/>
              <a:ahLst/>
              <a:cxnLst/>
              <a:rect l="l" t="t" r="r" b="b"/>
              <a:pathLst>
                <a:path w="1009669" h="708348">
                  <a:moveTo>
                    <a:pt x="603501" y="50150"/>
                  </a:moveTo>
                  <a:cubicBezTo>
                    <a:pt x="542180" y="62066"/>
                    <a:pt x="478445" y="107364"/>
                    <a:pt x="423184" y="199570"/>
                  </a:cubicBezTo>
                  <a:cubicBezTo>
                    <a:pt x="272212" y="83061"/>
                    <a:pt x="152459" y="206121"/>
                    <a:pt x="161943" y="302069"/>
                  </a:cubicBezTo>
                  <a:cubicBezTo>
                    <a:pt x="26288" y="375528"/>
                    <a:pt x="-48026" y="601915"/>
                    <a:pt x="246332" y="675024"/>
                  </a:cubicBezTo>
                  <a:cubicBezTo>
                    <a:pt x="328364" y="681654"/>
                    <a:pt x="702463" y="671711"/>
                    <a:pt x="811175" y="671084"/>
                  </a:cubicBezTo>
                  <a:cubicBezTo>
                    <a:pt x="1117486" y="580742"/>
                    <a:pt x="907007" y="327973"/>
                    <a:pt x="825793" y="314144"/>
                  </a:cubicBezTo>
                  <a:cubicBezTo>
                    <a:pt x="880245" y="220504"/>
                    <a:pt x="816740" y="98944"/>
                    <a:pt x="715155" y="59282"/>
                  </a:cubicBezTo>
                  <a:lnTo>
                    <a:pt x="734188" y="76200"/>
                  </a:lnTo>
                  <a:lnTo>
                    <a:pt x="562738" y="209550"/>
                  </a:lnTo>
                  <a:lnTo>
                    <a:pt x="800863" y="247650"/>
                  </a:lnTo>
                  <a:lnTo>
                    <a:pt x="438913" y="523875"/>
                  </a:lnTo>
                  <a:lnTo>
                    <a:pt x="591313" y="304800"/>
                  </a:lnTo>
                  <a:lnTo>
                    <a:pt x="400813" y="276225"/>
                  </a:lnTo>
                  <a:close/>
                  <a:moveTo>
                    <a:pt x="648463" y="0"/>
                  </a:moveTo>
                  <a:lnTo>
                    <a:pt x="656810" y="7419"/>
                  </a:lnTo>
                  <a:cubicBezTo>
                    <a:pt x="809413" y="16248"/>
                    <a:pt x="925532" y="208708"/>
                    <a:pt x="861868" y="304362"/>
                  </a:cubicBezTo>
                  <a:cubicBezTo>
                    <a:pt x="958394" y="320798"/>
                    <a:pt x="1143974" y="563623"/>
                    <a:pt x="853221" y="702416"/>
                  </a:cubicBezTo>
                  <a:cubicBezTo>
                    <a:pt x="724013" y="703162"/>
                    <a:pt x="289857" y="713233"/>
                    <a:pt x="192359" y="705353"/>
                  </a:cubicBezTo>
                  <a:cubicBezTo>
                    <a:pt x="-155750" y="576570"/>
                    <a:pt x="61739" y="286556"/>
                    <a:pt x="128715" y="286519"/>
                  </a:cubicBezTo>
                  <a:cubicBezTo>
                    <a:pt x="117442" y="172482"/>
                    <a:pt x="278973" y="34948"/>
                    <a:pt x="416517" y="164695"/>
                  </a:cubicBezTo>
                  <a:cubicBezTo>
                    <a:pt x="488301" y="49825"/>
                    <a:pt x="568070" y="6328"/>
                    <a:pt x="640898" y="5208"/>
                  </a:cubicBezTo>
                  <a:lnTo>
                    <a:pt x="643473" y="5566"/>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1" tIns="143401" rIns="179251" bIns="143401" numCol="1" spcCol="0" rtlCol="0" fromWordArt="0" anchor="t" anchorCtr="0" forceAA="0" compatLnSpc="1">
              <a:prstTxWarp prst="textNoShape">
                <a:avLst/>
              </a:prstTxWarp>
              <a:noAutofit/>
            </a:bodyPr>
            <a:lstStyle/>
            <a:p>
              <a:pPr algn="ctr" defTabSz="913909" fontAlgn="base">
                <a:spcBef>
                  <a:spcPct val="0"/>
                </a:spcBef>
                <a:spcAft>
                  <a:spcPct val="0"/>
                </a:spcAft>
              </a:pPr>
              <a:endParaRPr lang="en-US" sz="3136"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aphicFrame>
        <p:nvGraphicFramePr>
          <p:cNvPr id="40" name="Object 39" hidden="1"/>
          <p:cNvGraphicFramePr>
            <a:graphicFrameLocks noChangeAspect="1"/>
          </p:cNvGraphicFramePr>
          <p:nvPr>
            <p:custDataLst>
              <p:tags r:id="rId2"/>
            </p:custDataLst>
            <p:extLst/>
          </p:nvPr>
        </p:nvGraphicFramePr>
        <p:xfrm>
          <a:off x="2746" y="2713"/>
          <a:ext cx="1556" cy="1556"/>
        </p:xfrm>
        <a:graphic>
          <a:graphicData uri="http://schemas.openxmlformats.org/presentationml/2006/ole">
            <mc:AlternateContent xmlns:mc="http://schemas.openxmlformats.org/markup-compatibility/2006">
              <mc:Choice xmlns:v="urn:schemas-microsoft-com:vml" Requires="v">
                <p:oleObj spid="_x0000_s11882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2746" y="2713"/>
                        <a:ext cx="1556" cy="1556"/>
                      </a:xfrm>
                      <a:prstGeom prst="rect">
                        <a:avLst/>
                      </a:prstGeom>
                    </p:spPr>
                  </p:pic>
                </p:oleObj>
              </mc:Fallback>
            </mc:AlternateContent>
          </a:graphicData>
        </a:graphic>
      </p:graphicFrame>
      <p:sp>
        <p:nvSpPr>
          <p:cNvPr id="3" name="Title 2"/>
          <p:cNvSpPr>
            <a:spLocks noGrp="1"/>
          </p:cNvSpPr>
          <p:nvPr>
            <p:ph type="title"/>
          </p:nvPr>
        </p:nvSpPr>
        <p:spPr/>
        <p:txBody>
          <a:bodyPr/>
          <a:lstStyle/>
          <a:p>
            <a:r>
              <a:rPr lang="en-US" sz="4400" dirty="0"/>
              <a:t>Ways to buy: Azure p</a:t>
            </a:r>
            <a:r>
              <a:rPr lang="en-US" sz="4400" dirty="0" smtClean="0"/>
              <a:t>lans</a:t>
            </a:r>
            <a:endParaRPr lang="en-US" dirty="0"/>
          </a:p>
        </p:txBody>
      </p:sp>
      <p:sp>
        <p:nvSpPr>
          <p:cNvPr id="267" name="Rectangle 266"/>
          <p:cNvSpPr/>
          <p:nvPr/>
        </p:nvSpPr>
        <p:spPr bwMode="auto">
          <a:xfrm>
            <a:off x="338263" y="2155717"/>
            <a:ext cx="5594982" cy="159135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1" tIns="143401" rIns="179251" bIns="143401" numCol="1" spcCol="0" rtlCol="0" fromWordArt="0" anchor="ctr" anchorCtr="0" forceAA="0" compatLnSpc="1">
            <a:prstTxWarp prst="textNoShape">
              <a:avLst/>
            </a:prstTxWarp>
            <a:noAutofit/>
          </a:bodyPr>
          <a:lstStyle/>
          <a:p>
            <a:pPr fontAlgn="t">
              <a:defRPr/>
            </a:pPr>
            <a:endParaRPr lang="en-US" sz="2561" dirty="0">
              <a:solidFill>
                <a:srgbClr val="000000"/>
              </a:solidFill>
              <a:latin typeface="Segoe UI Semilight" panose="020B0402040204020203" pitchFamily="34" charset="0"/>
              <a:cs typeface="Segoe UI Semilight" panose="020B0402040204020203" pitchFamily="34" charset="0"/>
            </a:endParaRPr>
          </a:p>
        </p:txBody>
      </p:sp>
      <p:sp>
        <p:nvSpPr>
          <p:cNvPr id="207" name="Line Callout 1 206"/>
          <p:cNvSpPr/>
          <p:nvPr/>
        </p:nvSpPr>
        <p:spPr>
          <a:xfrm flipH="1">
            <a:off x="7273668" y="3218633"/>
            <a:ext cx="1931776" cy="937223"/>
          </a:xfrm>
          <a:prstGeom prst="borderCallout1">
            <a:avLst>
              <a:gd name="adj1" fmla="val 92841"/>
              <a:gd name="adj2" fmla="val 100157"/>
              <a:gd name="adj3" fmla="val 198403"/>
              <a:gd name="adj4" fmla="val 164054"/>
            </a:avLst>
          </a:prstGeom>
          <a:solidFill>
            <a:schemeClr val="accent1">
              <a:lumMod val="75000"/>
              <a:alpha val="15000"/>
            </a:schemeClr>
          </a:solidFill>
          <a:ln w="19050" cap="flat" cmpd="sng" algn="ctr">
            <a:solidFill>
              <a:schemeClr val="accent5"/>
            </a:solidFill>
            <a:prstDash val="dash"/>
          </a:ln>
          <a:effectLst/>
        </p:spPr>
        <p:txBody>
          <a:bodyPr rtlCol="0" anchor="ctr"/>
          <a:lstStyle/>
          <a:p>
            <a:pPr algn="ctr" defTabSz="836239">
              <a:defRPr/>
            </a:pPr>
            <a:endParaRPr lang="en-US" sz="2195" kern="0" dirty="0">
              <a:solidFill>
                <a:srgbClr val="FFFFFF"/>
              </a:solidFill>
              <a:latin typeface="Segoe UI Semilight" panose="020B0402040204020203" pitchFamily="34" charset="0"/>
              <a:cs typeface="Segoe UI Semilight" panose="020B0402040204020203" pitchFamily="34" charset="0"/>
            </a:endParaRPr>
          </a:p>
        </p:txBody>
      </p:sp>
      <p:grpSp>
        <p:nvGrpSpPr>
          <p:cNvPr id="5" name="Group 4"/>
          <p:cNvGrpSpPr/>
          <p:nvPr/>
        </p:nvGrpSpPr>
        <p:grpSpPr>
          <a:xfrm>
            <a:off x="10049927" y="3302850"/>
            <a:ext cx="851438" cy="672187"/>
            <a:chOff x="8082217" y="3256831"/>
            <a:chExt cx="930998" cy="734998"/>
          </a:xfrm>
        </p:grpSpPr>
        <p:sp>
          <p:nvSpPr>
            <p:cNvPr id="214" name="Rectangle 213"/>
            <p:cNvSpPr/>
            <p:nvPr/>
          </p:nvSpPr>
          <p:spPr bwMode="auto">
            <a:xfrm>
              <a:off x="8082217" y="3256831"/>
              <a:ext cx="930998" cy="734998"/>
            </a:xfrm>
            <a:prstGeom prst="rect">
              <a:avLst/>
            </a:prstGeom>
            <a:solidFill>
              <a:schemeClr val="bg1">
                <a:alpha val="10000"/>
              </a:schemeClr>
            </a:solidFill>
            <a:ln w="3175">
              <a:solidFill>
                <a:schemeClr val="bg1">
                  <a:lumMod val="9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a:solidFill>
                    <a:srgbClr val="FFFFFF"/>
                  </a:solidFill>
                </a:rPr>
                <a:t>SQL database</a:t>
              </a:r>
            </a:p>
          </p:txBody>
        </p:sp>
        <p:pic>
          <p:nvPicPr>
            <p:cNvPr id="215" name="Picture 2"/>
            <p:cNvPicPr>
              <a:picLocks noChangeAspect="1" noChangeArrowheads="1"/>
            </p:cNvPicPr>
            <p:nvPr/>
          </p:nvPicPr>
          <p:blipFill>
            <a:blip r:embed="rId8" cstate="email">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8331679" y="3339235"/>
              <a:ext cx="432074" cy="3922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6" name="Group 5"/>
          <p:cNvGrpSpPr/>
          <p:nvPr/>
        </p:nvGrpSpPr>
        <p:grpSpPr>
          <a:xfrm>
            <a:off x="10049927" y="4147127"/>
            <a:ext cx="851438" cy="672187"/>
            <a:chOff x="10987715" y="4180000"/>
            <a:chExt cx="930998" cy="734998"/>
          </a:xfrm>
        </p:grpSpPr>
        <p:sp>
          <p:nvSpPr>
            <p:cNvPr id="216" name="Rectangle 215"/>
            <p:cNvSpPr/>
            <p:nvPr/>
          </p:nvSpPr>
          <p:spPr bwMode="auto">
            <a:xfrm>
              <a:off x="10987715" y="4180000"/>
              <a:ext cx="930998" cy="734998"/>
            </a:xfrm>
            <a:prstGeom prst="rect">
              <a:avLst/>
            </a:prstGeom>
            <a:solidFill>
              <a:schemeClr val="bg1">
                <a:alpha val="10000"/>
              </a:schemeClr>
            </a:solidFill>
            <a:ln w="3175">
              <a:solidFill>
                <a:schemeClr val="bg1">
                  <a:lumMod val="9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5" tIns="45703" rIns="91405" bIns="45703" numCol="1" rtlCol="0" anchor="b" anchorCtr="0" compatLnSpc="1">
              <a:prstTxWarp prst="textNoShape">
                <a:avLst/>
              </a:prstTxWarp>
            </a:bodyPr>
            <a:lstStyle/>
            <a:p>
              <a:pPr algn="ctr" defTabSz="913731" fontAlgn="base">
                <a:spcBef>
                  <a:spcPct val="0"/>
                </a:spcBef>
                <a:spcAft>
                  <a:spcPct val="0"/>
                </a:spcAft>
              </a:pPr>
              <a:r>
                <a:rPr lang="en-US" sz="980" b="1" dirty="0">
                  <a:solidFill>
                    <a:srgbClr val="FFFFFF"/>
                  </a:solidFill>
                  <a:latin typeface="Segoe UI Light"/>
                </a:rPr>
                <a:t>Scheduler</a:t>
              </a:r>
            </a:p>
          </p:txBody>
        </p:sp>
        <p:sp>
          <p:nvSpPr>
            <p:cNvPr id="217" name="Freeform 216"/>
            <p:cNvSpPr>
              <a:spLocks noEditPoints="1"/>
            </p:cNvSpPr>
            <p:nvPr/>
          </p:nvSpPr>
          <p:spPr bwMode="auto">
            <a:xfrm>
              <a:off x="11240156" y="4286180"/>
              <a:ext cx="426117" cy="375698"/>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91409" tIns="45705" rIns="91409" bIns="45705" numCol="1" anchor="t" anchorCtr="0" compatLnSpc="1">
              <a:prstTxWarp prst="textNoShape">
                <a:avLst/>
              </a:prstTxWarp>
            </a:bodyPr>
            <a:lstStyle/>
            <a:p>
              <a:pPr defTabSz="1214587"/>
              <a:endParaRPr lang="en-US" sz="3136" dirty="0">
                <a:solidFill>
                  <a:srgbClr val="292929"/>
                </a:solidFill>
                <a:latin typeface="Segoe UI Light"/>
              </a:endParaRPr>
            </a:p>
          </p:txBody>
        </p:sp>
      </p:grpSp>
      <p:grpSp>
        <p:nvGrpSpPr>
          <p:cNvPr id="9" name="Group 8"/>
          <p:cNvGrpSpPr/>
          <p:nvPr/>
        </p:nvGrpSpPr>
        <p:grpSpPr>
          <a:xfrm>
            <a:off x="8275345" y="4147127"/>
            <a:ext cx="851438" cy="672187"/>
            <a:chOff x="9047312" y="4180000"/>
            <a:chExt cx="930998" cy="734998"/>
          </a:xfrm>
        </p:grpSpPr>
        <p:sp>
          <p:nvSpPr>
            <p:cNvPr id="222" name="Rectangle 221"/>
            <p:cNvSpPr/>
            <p:nvPr/>
          </p:nvSpPr>
          <p:spPr bwMode="auto">
            <a:xfrm>
              <a:off x="9047312" y="4180000"/>
              <a:ext cx="930998" cy="734998"/>
            </a:xfrm>
            <a:prstGeom prst="rect">
              <a:avLst/>
            </a:prstGeom>
            <a:solidFill>
              <a:schemeClr val="bg1">
                <a:alpha val="10000"/>
              </a:schemeClr>
            </a:solidFill>
            <a:ln w="3175">
              <a:solidFill>
                <a:schemeClr val="bg1">
                  <a:lumMod val="9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5" tIns="45703" rIns="91405" bIns="45703" numCol="1" rtlCol="0" anchor="b" anchorCtr="0" compatLnSpc="1">
              <a:prstTxWarp prst="textNoShape">
                <a:avLst/>
              </a:prstTxWarp>
            </a:bodyPr>
            <a:lstStyle/>
            <a:p>
              <a:pPr algn="ctr" defTabSz="913731" fontAlgn="base">
                <a:spcBef>
                  <a:spcPct val="0"/>
                </a:spcBef>
                <a:spcAft>
                  <a:spcPct val="0"/>
                </a:spcAft>
              </a:pPr>
              <a:r>
                <a:rPr lang="en-US" sz="980" b="1" dirty="0">
                  <a:solidFill>
                    <a:srgbClr val="FFFFFF"/>
                  </a:solidFill>
                  <a:latin typeface="Segoe UI Light"/>
                </a:rPr>
                <a:t>RemoteApp</a:t>
              </a:r>
            </a:p>
          </p:txBody>
        </p:sp>
        <p:sp>
          <p:nvSpPr>
            <p:cNvPr id="223" name="Freeform 222"/>
            <p:cNvSpPr>
              <a:spLocks noEditPoints="1"/>
            </p:cNvSpPr>
            <p:nvPr/>
          </p:nvSpPr>
          <p:spPr bwMode="black">
            <a:xfrm>
              <a:off x="9316881" y="4277873"/>
              <a:ext cx="391860" cy="392312"/>
            </a:xfrm>
            <a:custGeom>
              <a:avLst/>
              <a:gdLst>
                <a:gd name="T0" fmla="*/ 0 w 708"/>
                <a:gd name="T1" fmla="*/ 709 h 709"/>
                <a:gd name="T2" fmla="*/ 212 w 708"/>
                <a:gd name="T3" fmla="*/ 567 h 709"/>
                <a:gd name="T4" fmla="*/ 708 w 708"/>
                <a:gd name="T5" fmla="*/ 567 h 709"/>
                <a:gd name="T6" fmla="*/ 496 w 708"/>
                <a:gd name="T7" fmla="*/ 709 h 709"/>
                <a:gd name="T8" fmla="*/ 708 w 708"/>
                <a:gd name="T9" fmla="*/ 567 h 709"/>
                <a:gd name="T10" fmla="*/ 248 w 708"/>
                <a:gd name="T11" fmla="*/ 567 h 709"/>
                <a:gd name="T12" fmla="*/ 460 w 708"/>
                <a:gd name="T13" fmla="*/ 709 h 709"/>
                <a:gd name="T14" fmla="*/ 212 w 708"/>
                <a:gd name="T15" fmla="*/ 227 h 709"/>
                <a:gd name="T16" fmla="*/ 0 w 708"/>
                <a:gd name="T17" fmla="*/ 369 h 709"/>
                <a:gd name="T18" fmla="*/ 212 w 708"/>
                <a:gd name="T19" fmla="*/ 227 h 709"/>
                <a:gd name="T20" fmla="*/ 496 w 708"/>
                <a:gd name="T21" fmla="*/ 14 h 709"/>
                <a:gd name="T22" fmla="*/ 708 w 708"/>
                <a:gd name="T23" fmla="*/ 156 h 709"/>
                <a:gd name="T24" fmla="*/ 460 w 708"/>
                <a:gd name="T25" fmla="*/ 156 h 709"/>
                <a:gd name="T26" fmla="*/ 248 w 708"/>
                <a:gd name="T27" fmla="*/ 298 h 709"/>
                <a:gd name="T28" fmla="*/ 460 w 708"/>
                <a:gd name="T29" fmla="*/ 156 h 709"/>
                <a:gd name="T30" fmla="*/ 127 w 708"/>
                <a:gd name="T31" fmla="*/ 397 h 709"/>
                <a:gd name="T32" fmla="*/ 340 w 708"/>
                <a:gd name="T33" fmla="*/ 539 h 709"/>
                <a:gd name="T34" fmla="*/ 97 w 708"/>
                <a:gd name="T35" fmla="*/ 397 h 709"/>
                <a:gd name="T36" fmla="*/ 0 w 708"/>
                <a:gd name="T37" fmla="*/ 539 h 709"/>
                <a:gd name="T38" fmla="*/ 97 w 708"/>
                <a:gd name="T39" fmla="*/ 397 h 709"/>
                <a:gd name="T40" fmla="*/ 0 w 708"/>
                <a:gd name="T41" fmla="*/ 57 h 709"/>
                <a:gd name="T42" fmla="*/ 97 w 708"/>
                <a:gd name="T43" fmla="*/ 199 h 709"/>
                <a:gd name="T44" fmla="*/ 583 w 708"/>
                <a:gd name="T45" fmla="*/ 397 h 709"/>
                <a:gd name="T46" fmla="*/ 371 w 708"/>
                <a:gd name="T47" fmla="*/ 539 h 709"/>
                <a:gd name="T48" fmla="*/ 583 w 708"/>
                <a:gd name="T49" fmla="*/ 397 h 709"/>
                <a:gd name="T50" fmla="*/ 614 w 708"/>
                <a:gd name="T51" fmla="*/ 397 h 709"/>
                <a:gd name="T52" fmla="*/ 708 w 708"/>
                <a:gd name="T53" fmla="*/ 539 h 709"/>
                <a:gd name="T54" fmla="*/ 354 w 708"/>
                <a:gd name="T55" fmla="*/ 132 h 709"/>
                <a:gd name="T56" fmla="*/ 392 w 708"/>
                <a:gd name="T57" fmla="*/ 47 h 709"/>
                <a:gd name="T58" fmla="*/ 316 w 708"/>
                <a:gd name="T59" fmla="*/ 0 h 709"/>
                <a:gd name="T60" fmla="*/ 269 w 708"/>
                <a:gd name="T61" fmla="*/ 47 h 709"/>
                <a:gd name="T62" fmla="*/ 602 w 708"/>
                <a:gd name="T63" fmla="*/ 343 h 709"/>
                <a:gd name="T64" fmla="*/ 640 w 708"/>
                <a:gd name="T65" fmla="*/ 258 h 709"/>
                <a:gd name="T66" fmla="*/ 564 w 708"/>
                <a:gd name="T67" fmla="*/ 210 h 709"/>
                <a:gd name="T68" fmla="*/ 517 w 708"/>
                <a:gd name="T69" fmla="*/ 25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709">
                  <a:moveTo>
                    <a:pt x="212" y="709"/>
                  </a:moveTo>
                  <a:lnTo>
                    <a:pt x="0" y="709"/>
                  </a:lnTo>
                  <a:lnTo>
                    <a:pt x="0" y="567"/>
                  </a:lnTo>
                  <a:lnTo>
                    <a:pt x="212" y="567"/>
                  </a:lnTo>
                  <a:lnTo>
                    <a:pt x="212" y="709"/>
                  </a:lnTo>
                  <a:close/>
                  <a:moveTo>
                    <a:pt x="708" y="567"/>
                  </a:moveTo>
                  <a:lnTo>
                    <a:pt x="496" y="567"/>
                  </a:lnTo>
                  <a:lnTo>
                    <a:pt x="496" y="709"/>
                  </a:lnTo>
                  <a:lnTo>
                    <a:pt x="708" y="709"/>
                  </a:lnTo>
                  <a:lnTo>
                    <a:pt x="708" y="567"/>
                  </a:lnTo>
                  <a:close/>
                  <a:moveTo>
                    <a:pt x="460" y="567"/>
                  </a:moveTo>
                  <a:lnTo>
                    <a:pt x="248" y="567"/>
                  </a:lnTo>
                  <a:lnTo>
                    <a:pt x="248" y="709"/>
                  </a:lnTo>
                  <a:lnTo>
                    <a:pt x="460" y="709"/>
                  </a:lnTo>
                  <a:lnTo>
                    <a:pt x="460" y="567"/>
                  </a:lnTo>
                  <a:close/>
                  <a:moveTo>
                    <a:pt x="212" y="227"/>
                  </a:moveTo>
                  <a:lnTo>
                    <a:pt x="0" y="227"/>
                  </a:lnTo>
                  <a:lnTo>
                    <a:pt x="0" y="369"/>
                  </a:lnTo>
                  <a:lnTo>
                    <a:pt x="212" y="369"/>
                  </a:lnTo>
                  <a:lnTo>
                    <a:pt x="212" y="227"/>
                  </a:lnTo>
                  <a:close/>
                  <a:moveTo>
                    <a:pt x="708" y="14"/>
                  </a:moveTo>
                  <a:lnTo>
                    <a:pt x="496" y="14"/>
                  </a:lnTo>
                  <a:lnTo>
                    <a:pt x="496" y="156"/>
                  </a:lnTo>
                  <a:lnTo>
                    <a:pt x="708" y="156"/>
                  </a:lnTo>
                  <a:lnTo>
                    <a:pt x="708" y="14"/>
                  </a:lnTo>
                  <a:close/>
                  <a:moveTo>
                    <a:pt x="460" y="156"/>
                  </a:moveTo>
                  <a:lnTo>
                    <a:pt x="248" y="156"/>
                  </a:lnTo>
                  <a:lnTo>
                    <a:pt x="248" y="298"/>
                  </a:lnTo>
                  <a:lnTo>
                    <a:pt x="460" y="298"/>
                  </a:lnTo>
                  <a:lnTo>
                    <a:pt x="460" y="156"/>
                  </a:lnTo>
                  <a:close/>
                  <a:moveTo>
                    <a:pt x="340" y="397"/>
                  </a:moveTo>
                  <a:lnTo>
                    <a:pt x="127" y="397"/>
                  </a:lnTo>
                  <a:lnTo>
                    <a:pt x="127" y="539"/>
                  </a:lnTo>
                  <a:lnTo>
                    <a:pt x="340" y="539"/>
                  </a:lnTo>
                  <a:lnTo>
                    <a:pt x="340" y="397"/>
                  </a:lnTo>
                  <a:close/>
                  <a:moveTo>
                    <a:pt x="97" y="397"/>
                  </a:moveTo>
                  <a:lnTo>
                    <a:pt x="0" y="397"/>
                  </a:lnTo>
                  <a:lnTo>
                    <a:pt x="0" y="539"/>
                  </a:lnTo>
                  <a:lnTo>
                    <a:pt x="97" y="539"/>
                  </a:lnTo>
                  <a:lnTo>
                    <a:pt x="97" y="397"/>
                  </a:lnTo>
                  <a:close/>
                  <a:moveTo>
                    <a:pt x="97" y="57"/>
                  </a:moveTo>
                  <a:lnTo>
                    <a:pt x="0" y="57"/>
                  </a:lnTo>
                  <a:lnTo>
                    <a:pt x="0" y="199"/>
                  </a:lnTo>
                  <a:lnTo>
                    <a:pt x="97" y="199"/>
                  </a:lnTo>
                  <a:lnTo>
                    <a:pt x="97" y="57"/>
                  </a:lnTo>
                  <a:close/>
                  <a:moveTo>
                    <a:pt x="583" y="397"/>
                  </a:moveTo>
                  <a:lnTo>
                    <a:pt x="371" y="397"/>
                  </a:lnTo>
                  <a:lnTo>
                    <a:pt x="371" y="539"/>
                  </a:lnTo>
                  <a:lnTo>
                    <a:pt x="583" y="539"/>
                  </a:lnTo>
                  <a:lnTo>
                    <a:pt x="583" y="397"/>
                  </a:lnTo>
                  <a:close/>
                  <a:moveTo>
                    <a:pt x="708" y="397"/>
                  </a:moveTo>
                  <a:lnTo>
                    <a:pt x="614" y="397"/>
                  </a:lnTo>
                  <a:lnTo>
                    <a:pt x="614" y="539"/>
                  </a:lnTo>
                  <a:lnTo>
                    <a:pt x="708" y="539"/>
                  </a:lnTo>
                  <a:lnTo>
                    <a:pt x="708" y="397"/>
                  </a:lnTo>
                  <a:close/>
                  <a:moveTo>
                    <a:pt x="354" y="132"/>
                  </a:moveTo>
                  <a:lnTo>
                    <a:pt x="439" y="47"/>
                  </a:lnTo>
                  <a:lnTo>
                    <a:pt x="392" y="47"/>
                  </a:lnTo>
                  <a:lnTo>
                    <a:pt x="392" y="0"/>
                  </a:lnTo>
                  <a:lnTo>
                    <a:pt x="316" y="0"/>
                  </a:lnTo>
                  <a:lnTo>
                    <a:pt x="316" y="47"/>
                  </a:lnTo>
                  <a:lnTo>
                    <a:pt x="269" y="47"/>
                  </a:lnTo>
                  <a:lnTo>
                    <a:pt x="354" y="132"/>
                  </a:lnTo>
                  <a:close/>
                  <a:moveTo>
                    <a:pt x="602" y="343"/>
                  </a:moveTo>
                  <a:lnTo>
                    <a:pt x="687" y="258"/>
                  </a:lnTo>
                  <a:lnTo>
                    <a:pt x="640" y="258"/>
                  </a:lnTo>
                  <a:lnTo>
                    <a:pt x="640" y="210"/>
                  </a:lnTo>
                  <a:lnTo>
                    <a:pt x="564" y="210"/>
                  </a:lnTo>
                  <a:lnTo>
                    <a:pt x="564" y="258"/>
                  </a:lnTo>
                  <a:lnTo>
                    <a:pt x="517" y="258"/>
                  </a:lnTo>
                  <a:lnTo>
                    <a:pt x="602" y="343"/>
                  </a:lnTo>
                  <a:close/>
                </a:path>
              </a:pathLst>
            </a:custGeom>
            <a:solidFill>
              <a:schemeClr val="bg1"/>
            </a:solidFill>
            <a:ln>
              <a:noFill/>
            </a:ln>
            <a:extLst/>
          </p:spPr>
          <p:txBody>
            <a:bodyPr vert="horz" wrap="square" lIns="80671" tIns="40336" rIns="80671" bIns="40336"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960" dirty="0">
                <a:solidFill>
                  <a:srgbClr val="000000"/>
                </a:solidFill>
                <a:latin typeface="Segoe UI Light"/>
              </a:endParaRPr>
            </a:p>
          </p:txBody>
        </p:sp>
      </p:grpSp>
      <p:grpSp>
        <p:nvGrpSpPr>
          <p:cNvPr id="227" name="Group 226"/>
          <p:cNvGrpSpPr/>
          <p:nvPr/>
        </p:nvGrpSpPr>
        <p:grpSpPr>
          <a:xfrm>
            <a:off x="9167305" y="3300332"/>
            <a:ext cx="851438" cy="672187"/>
            <a:chOff x="9052418" y="3256831"/>
            <a:chExt cx="930998" cy="734998"/>
          </a:xfrm>
        </p:grpSpPr>
        <p:sp>
          <p:nvSpPr>
            <p:cNvPr id="228" name="Rectangle 227"/>
            <p:cNvSpPr/>
            <p:nvPr/>
          </p:nvSpPr>
          <p:spPr bwMode="auto">
            <a:xfrm>
              <a:off x="9052418" y="3256831"/>
              <a:ext cx="930998" cy="734998"/>
            </a:xfrm>
            <a:prstGeom prst="rect">
              <a:avLst/>
            </a:prstGeom>
            <a:solidFill>
              <a:schemeClr val="bg1">
                <a:alpha val="10000"/>
              </a:schemeClr>
            </a:solidFill>
            <a:ln w="3175">
              <a:solidFill>
                <a:schemeClr val="bg1">
                  <a:lumMod val="9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smtClean="0">
                  <a:solidFill>
                    <a:srgbClr val="FFFFFF"/>
                  </a:solidFill>
                </a:rPr>
                <a:t>HDInsight</a:t>
              </a:r>
              <a:endParaRPr lang="en-US" sz="783" b="1" dirty="0">
                <a:solidFill>
                  <a:srgbClr val="FFFFFF"/>
                </a:solidFill>
              </a:endParaRPr>
            </a:p>
          </p:txBody>
        </p:sp>
        <p:pic>
          <p:nvPicPr>
            <p:cNvPr id="229" name="Picture 3"/>
            <p:cNvPicPr>
              <a:picLocks noChangeAspect="1" noChangeArrowheads="1"/>
            </p:cNvPicPr>
            <p:nvPr/>
          </p:nvPicPr>
          <p:blipFill>
            <a:blip r:embed="rId10" cstate="email">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tretch>
              <a:fillRect/>
            </a:stretch>
          </p:blipFill>
          <p:spPr bwMode="auto">
            <a:xfrm>
              <a:off x="9284563" y="3304733"/>
              <a:ext cx="466708" cy="46128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9167305" y="4991405"/>
            <a:ext cx="851438" cy="672187"/>
            <a:chOff x="10022619" y="5103169"/>
            <a:chExt cx="930998" cy="734998"/>
          </a:xfrm>
        </p:grpSpPr>
        <p:sp>
          <p:nvSpPr>
            <p:cNvPr id="230" name="Rectangle 229"/>
            <p:cNvSpPr/>
            <p:nvPr/>
          </p:nvSpPr>
          <p:spPr bwMode="auto">
            <a:xfrm>
              <a:off x="10022619" y="5103169"/>
              <a:ext cx="930998" cy="734998"/>
            </a:xfrm>
            <a:prstGeom prst="rect">
              <a:avLst/>
            </a:prstGeom>
            <a:solidFill>
              <a:schemeClr val="bg1">
                <a:alpha val="10000"/>
              </a:schemeClr>
            </a:solidFill>
            <a:ln w="3175">
              <a:solidFill>
                <a:schemeClr val="bg1">
                  <a:lumMod val="9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05" tIns="45703" rIns="91405" bIns="45703" numCol="1" rtlCol="0" anchor="b" anchorCtr="0" compatLnSpc="1">
              <a:prstTxWarp prst="textNoShape">
                <a:avLst/>
              </a:prstTxWarp>
            </a:bodyPr>
            <a:lstStyle/>
            <a:p>
              <a:pPr algn="ctr" defTabSz="913731" fontAlgn="base">
                <a:spcBef>
                  <a:spcPct val="0"/>
                </a:spcBef>
                <a:spcAft>
                  <a:spcPct val="0"/>
                </a:spcAft>
              </a:pPr>
              <a:r>
                <a:rPr lang="en-US" sz="980" b="1" dirty="0">
                  <a:solidFill>
                    <a:srgbClr val="FFFFFF"/>
                  </a:solidFill>
                  <a:latin typeface="Segoe UI Light"/>
                </a:rPr>
                <a:t>RemoteApp</a:t>
              </a:r>
            </a:p>
          </p:txBody>
        </p:sp>
        <p:sp>
          <p:nvSpPr>
            <p:cNvPr id="231" name="L-Shape 12"/>
            <p:cNvSpPr/>
            <p:nvPr/>
          </p:nvSpPr>
          <p:spPr>
            <a:xfrm>
              <a:off x="10313649" y="5216947"/>
              <a:ext cx="348939" cy="317048"/>
            </a:xfrm>
            <a:custGeom>
              <a:avLst/>
              <a:gdLst/>
              <a:ahLst/>
              <a:cxnLst/>
              <a:rect l="l" t="t" r="r" b="b"/>
              <a:pathLst>
                <a:path w="2084586" h="1894071">
                  <a:moveTo>
                    <a:pt x="485337" y="1264369"/>
                  </a:moveTo>
                  <a:lnTo>
                    <a:pt x="672903" y="1264369"/>
                  </a:lnTo>
                  <a:lnTo>
                    <a:pt x="672903" y="1720793"/>
                  </a:lnTo>
                  <a:lnTo>
                    <a:pt x="752398" y="1720793"/>
                  </a:lnTo>
                  <a:lnTo>
                    <a:pt x="579120" y="1894071"/>
                  </a:lnTo>
                  <a:lnTo>
                    <a:pt x="405842" y="1720793"/>
                  </a:lnTo>
                  <a:lnTo>
                    <a:pt x="485337" y="1720793"/>
                  </a:lnTo>
                  <a:close/>
                  <a:moveTo>
                    <a:pt x="331797" y="999793"/>
                  </a:moveTo>
                  <a:lnTo>
                    <a:pt x="826444" y="999793"/>
                  </a:lnTo>
                  <a:lnTo>
                    <a:pt x="826444" y="1109744"/>
                  </a:lnTo>
                  <a:lnTo>
                    <a:pt x="331797" y="1109744"/>
                  </a:lnTo>
                  <a:close/>
                  <a:moveTo>
                    <a:pt x="331797" y="841330"/>
                  </a:moveTo>
                  <a:lnTo>
                    <a:pt x="826444" y="841330"/>
                  </a:lnTo>
                  <a:lnTo>
                    <a:pt x="826444" y="951281"/>
                  </a:lnTo>
                  <a:lnTo>
                    <a:pt x="331797" y="951281"/>
                  </a:lnTo>
                  <a:close/>
                  <a:moveTo>
                    <a:pt x="331797" y="682868"/>
                  </a:moveTo>
                  <a:lnTo>
                    <a:pt x="826444" y="682868"/>
                  </a:lnTo>
                  <a:lnTo>
                    <a:pt x="826444" y="792819"/>
                  </a:lnTo>
                  <a:lnTo>
                    <a:pt x="331797" y="792819"/>
                  </a:lnTo>
                  <a:close/>
                  <a:moveTo>
                    <a:pt x="723092" y="295346"/>
                  </a:moveTo>
                  <a:cubicBezTo>
                    <a:pt x="1141964" y="298315"/>
                    <a:pt x="1490793" y="568996"/>
                    <a:pt x="1573762" y="929135"/>
                  </a:cubicBezTo>
                  <a:cubicBezTo>
                    <a:pt x="1814763" y="958572"/>
                    <a:pt x="2012695" y="1067283"/>
                    <a:pt x="2079531" y="1213804"/>
                  </a:cubicBezTo>
                  <a:lnTo>
                    <a:pt x="2076926" y="1214231"/>
                  </a:lnTo>
                  <a:cubicBezTo>
                    <a:pt x="2082206" y="1218728"/>
                    <a:pt x="2084586" y="1225448"/>
                    <a:pt x="2084586" y="1232724"/>
                  </a:cubicBezTo>
                  <a:lnTo>
                    <a:pt x="2084586" y="1593670"/>
                  </a:lnTo>
                  <a:cubicBezTo>
                    <a:pt x="2084586" y="1611702"/>
                    <a:pt x="2069969" y="1626319"/>
                    <a:pt x="2051937" y="1626319"/>
                  </a:cubicBezTo>
                  <a:lnTo>
                    <a:pt x="1935052" y="1626319"/>
                  </a:lnTo>
                  <a:lnTo>
                    <a:pt x="1935051" y="1626319"/>
                  </a:lnTo>
                  <a:lnTo>
                    <a:pt x="805823" y="1626319"/>
                  </a:lnTo>
                  <a:lnTo>
                    <a:pt x="805823" y="1420840"/>
                  </a:lnTo>
                  <a:lnTo>
                    <a:pt x="1902403" y="1420840"/>
                  </a:lnTo>
                  <a:lnTo>
                    <a:pt x="1902403" y="1239177"/>
                  </a:lnTo>
                  <a:cubicBezTo>
                    <a:pt x="1830681" y="1149132"/>
                    <a:pt x="1645801" y="1089233"/>
                    <a:pt x="1438332" y="1088855"/>
                  </a:cubicBezTo>
                  <a:lnTo>
                    <a:pt x="1438336" y="1088375"/>
                  </a:lnTo>
                  <a:lnTo>
                    <a:pt x="1426991" y="1088468"/>
                  </a:lnTo>
                  <a:cubicBezTo>
                    <a:pt x="1423433" y="742809"/>
                    <a:pt x="1109554" y="463526"/>
                    <a:pt x="721680" y="460900"/>
                  </a:cubicBezTo>
                  <a:close/>
                  <a:moveTo>
                    <a:pt x="0" y="0"/>
                  </a:moveTo>
                  <a:lnTo>
                    <a:pt x="187452" y="0"/>
                  </a:lnTo>
                  <a:lnTo>
                    <a:pt x="187452" y="3"/>
                  </a:lnTo>
                  <a:lnTo>
                    <a:pt x="693420" y="3"/>
                  </a:lnTo>
                  <a:lnTo>
                    <a:pt x="693420" y="453053"/>
                  </a:lnTo>
                  <a:lnTo>
                    <a:pt x="507565" y="453053"/>
                  </a:lnTo>
                  <a:lnTo>
                    <a:pt x="507565" y="189586"/>
                  </a:lnTo>
                  <a:lnTo>
                    <a:pt x="187452" y="189586"/>
                  </a:lnTo>
                  <a:lnTo>
                    <a:pt x="187452" y="1424613"/>
                  </a:lnTo>
                  <a:lnTo>
                    <a:pt x="365760" y="1424613"/>
                  </a:lnTo>
                  <a:lnTo>
                    <a:pt x="365760" y="1626319"/>
                  </a:lnTo>
                  <a:lnTo>
                    <a:pt x="0" y="1626319"/>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2352" dirty="0">
                <a:solidFill>
                  <a:srgbClr val="FFFFFF"/>
                </a:solidFill>
                <a:latin typeface="Segoe UI Light"/>
              </a:endParaRPr>
            </a:p>
          </p:txBody>
        </p:sp>
      </p:grpSp>
      <p:grpSp>
        <p:nvGrpSpPr>
          <p:cNvPr id="11" name="Group 10"/>
          <p:cNvGrpSpPr/>
          <p:nvPr/>
        </p:nvGrpSpPr>
        <p:grpSpPr>
          <a:xfrm>
            <a:off x="8275345" y="3302850"/>
            <a:ext cx="851438" cy="672187"/>
            <a:chOff x="9047312" y="3256831"/>
            <a:chExt cx="930998" cy="734998"/>
          </a:xfrm>
          <a:solidFill>
            <a:schemeClr val="accent1"/>
          </a:solidFill>
        </p:grpSpPr>
        <p:sp>
          <p:nvSpPr>
            <p:cNvPr id="235" name="Rectangle 234"/>
            <p:cNvSpPr/>
            <p:nvPr/>
          </p:nvSpPr>
          <p:spPr bwMode="auto">
            <a:xfrm>
              <a:off x="9047312" y="3256831"/>
              <a:ext cx="930998" cy="734998"/>
            </a:xfrm>
            <a:prstGeom prst="rect">
              <a:avLst/>
            </a:prstGeom>
            <a:solidFill>
              <a:srgbClr val="8C8C8C"/>
            </a:solidFill>
            <a:ln w="3175">
              <a:solidFill>
                <a:schemeClr val="bg1">
                  <a:lumMod val="9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a:solidFill>
                    <a:srgbClr val="FFFFFF"/>
                  </a:solidFill>
                </a:rPr>
                <a:t>Backup</a:t>
              </a:r>
            </a:p>
          </p:txBody>
        </p:sp>
        <p:pic>
          <p:nvPicPr>
            <p:cNvPr id="236" name="Picture 235"/>
            <p:cNvPicPr>
              <a:picLocks noChangeAspect="1"/>
            </p:cNvPicPr>
            <p:nvPr/>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a:xfrm>
              <a:off x="9262253" y="3308976"/>
              <a:ext cx="509740" cy="457459"/>
            </a:xfrm>
            <a:prstGeom prst="rect">
              <a:avLst/>
            </a:prstGeom>
            <a:solidFill>
              <a:srgbClr val="8C8C8C"/>
            </a:solidFill>
          </p:spPr>
        </p:pic>
      </p:grpSp>
      <p:sp>
        <p:nvSpPr>
          <p:cNvPr id="240" name="Line Callout 1 239"/>
          <p:cNvSpPr/>
          <p:nvPr/>
        </p:nvSpPr>
        <p:spPr>
          <a:xfrm flipH="1">
            <a:off x="7216390" y="3135268"/>
            <a:ext cx="1081360" cy="923483"/>
          </a:xfrm>
          <a:prstGeom prst="borderCallout1">
            <a:avLst>
              <a:gd name="adj1" fmla="val 27517"/>
              <a:gd name="adj2" fmla="val 94698"/>
              <a:gd name="adj3" fmla="val 76240"/>
              <a:gd name="adj4" fmla="val 204449"/>
            </a:avLst>
          </a:prstGeom>
          <a:solidFill>
            <a:schemeClr val="accent1">
              <a:lumMod val="75000"/>
              <a:alpha val="18000"/>
            </a:schemeClr>
          </a:solidFill>
          <a:ln w="19050" cap="flat" cmpd="sng" algn="ctr">
            <a:solidFill>
              <a:schemeClr val="accent3"/>
            </a:solidFill>
            <a:prstDash val="dash"/>
          </a:ln>
          <a:effectLst/>
        </p:spPr>
        <p:txBody>
          <a:bodyPr rtlCol="0" anchor="ctr"/>
          <a:lstStyle/>
          <a:p>
            <a:pPr algn="ctr" defTabSz="836239">
              <a:defRPr/>
            </a:pPr>
            <a:endParaRPr lang="en-US" sz="2195" kern="0" dirty="0">
              <a:solidFill>
                <a:srgbClr val="FFFFFF"/>
              </a:solidFill>
              <a:latin typeface="Segoe UI Semilight" panose="020B0402040204020203" pitchFamily="34" charset="0"/>
              <a:cs typeface="Segoe UI Semilight" panose="020B0402040204020203" pitchFamily="34" charset="0"/>
            </a:endParaRPr>
          </a:p>
        </p:txBody>
      </p:sp>
      <p:grpSp>
        <p:nvGrpSpPr>
          <p:cNvPr id="237" name="Group 236"/>
          <p:cNvGrpSpPr/>
          <p:nvPr/>
        </p:nvGrpSpPr>
        <p:grpSpPr>
          <a:xfrm>
            <a:off x="7391524" y="3302199"/>
            <a:ext cx="851438" cy="672187"/>
            <a:chOff x="10992821" y="3256831"/>
            <a:chExt cx="930998" cy="734998"/>
          </a:xfrm>
          <a:solidFill>
            <a:schemeClr val="accent1"/>
          </a:solidFill>
        </p:grpSpPr>
        <p:sp>
          <p:nvSpPr>
            <p:cNvPr id="238" name="Rectangle 237"/>
            <p:cNvSpPr/>
            <p:nvPr/>
          </p:nvSpPr>
          <p:spPr bwMode="auto">
            <a:xfrm>
              <a:off x="10992821" y="3256831"/>
              <a:ext cx="930998" cy="734998"/>
            </a:xfrm>
            <a:prstGeom prst="rect">
              <a:avLst/>
            </a:prstGeom>
            <a:solidFill>
              <a:srgbClr val="8C8C8C"/>
            </a:solidFill>
            <a:ln w="3175">
              <a:solidFill>
                <a:schemeClr val="bg1">
                  <a:lumMod val="9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a:solidFill>
                    <a:srgbClr val="FFFFFF"/>
                  </a:solidFill>
                </a:rPr>
                <a:t>Site Recovery</a:t>
              </a:r>
            </a:p>
          </p:txBody>
        </p:sp>
        <p:sp>
          <p:nvSpPr>
            <p:cNvPr id="239" name="Rectangle 98"/>
            <p:cNvSpPr/>
            <p:nvPr/>
          </p:nvSpPr>
          <p:spPr>
            <a:xfrm>
              <a:off x="11222806" y="3359464"/>
              <a:ext cx="477963" cy="394983"/>
            </a:xfrm>
            <a:custGeom>
              <a:avLst/>
              <a:gdLst/>
              <a:ahLst/>
              <a:cxnLst/>
              <a:rect l="l" t="t" r="r" b="b"/>
              <a:pathLst>
                <a:path w="2743200" h="2266950">
                  <a:moveTo>
                    <a:pt x="2064913" y="1560574"/>
                  </a:moveTo>
                  <a:lnTo>
                    <a:pt x="2445633" y="1560574"/>
                  </a:lnTo>
                  <a:lnTo>
                    <a:pt x="2445633" y="1949450"/>
                  </a:lnTo>
                  <a:lnTo>
                    <a:pt x="2064913" y="1949450"/>
                  </a:lnTo>
                  <a:close/>
                  <a:moveTo>
                    <a:pt x="1623077" y="1560574"/>
                  </a:moveTo>
                  <a:lnTo>
                    <a:pt x="2003797" y="1560574"/>
                  </a:lnTo>
                  <a:lnTo>
                    <a:pt x="2003797" y="1949450"/>
                  </a:lnTo>
                  <a:lnTo>
                    <a:pt x="1623077" y="1949450"/>
                  </a:lnTo>
                  <a:close/>
                  <a:moveTo>
                    <a:pt x="1181240" y="1560574"/>
                  </a:moveTo>
                  <a:lnTo>
                    <a:pt x="1561960" y="1560574"/>
                  </a:lnTo>
                  <a:lnTo>
                    <a:pt x="1561960" y="1949450"/>
                  </a:lnTo>
                  <a:lnTo>
                    <a:pt x="1181240" y="1949450"/>
                  </a:lnTo>
                  <a:close/>
                  <a:moveTo>
                    <a:pt x="739404" y="1560574"/>
                  </a:moveTo>
                  <a:lnTo>
                    <a:pt x="1120124" y="1560574"/>
                  </a:lnTo>
                  <a:lnTo>
                    <a:pt x="1120124" y="1949450"/>
                  </a:lnTo>
                  <a:lnTo>
                    <a:pt x="739404" y="1949450"/>
                  </a:lnTo>
                  <a:close/>
                  <a:moveTo>
                    <a:pt x="297567" y="1560574"/>
                  </a:moveTo>
                  <a:lnTo>
                    <a:pt x="678287" y="1560574"/>
                  </a:lnTo>
                  <a:lnTo>
                    <a:pt x="678287" y="1949450"/>
                  </a:lnTo>
                  <a:lnTo>
                    <a:pt x="297567" y="1949450"/>
                  </a:lnTo>
                  <a:close/>
                  <a:moveTo>
                    <a:pt x="2064913" y="1110488"/>
                  </a:moveTo>
                  <a:lnTo>
                    <a:pt x="2445633" y="1110488"/>
                  </a:lnTo>
                  <a:lnTo>
                    <a:pt x="2445633" y="1499364"/>
                  </a:lnTo>
                  <a:lnTo>
                    <a:pt x="2064913" y="1499364"/>
                  </a:lnTo>
                  <a:close/>
                  <a:moveTo>
                    <a:pt x="1623077" y="1110488"/>
                  </a:moveTo>
                  <a:lnTo>
                    <a:pt x="2003797" y="1110488"/>
                  </a:lnTo>
                  <a:lnTo>
                    <a:pt x="2003797" y="1499364"/>
                  </a:lnTo>
                  <a:lnTo>
                    <a:pt x="1623077" y="1499364"/>
                  </a:lnTo>
                  <a:close/>
                  <a:moveTo>
                    <a:pt x="1181240" y="1110488"/>
                  </a:moveTo>
                  <a:lnTo>
                    <a:pt x="1561960" y="1110488"/>
                  </a:lnTo>
                  <a:lnTo>
                    <a:pt x="1561960" y="1499364"/>
                  </a:lnTo>
                  <a:lnTo>
                    <a:pt x="1181240" y="1499364"/>
                  </a:lnTo>
                  <a:close/>
                  <a:moveTo>
                    <a:pt x="739404" y="1110488"/>
                  </a:moveTo>
                  <a:lnTo>
                    <a:pt x="1120124" y="1110488"/>
                  </a:lnTo>
                  <a:lnTo>
                    <a:pt x="1120124" y="1499364"/>
                  </a:lnTo>
                  <a:lnTo>
                    <a:pt x="739404" y="1499364"/>
                  </a:lnTo>
                  <a:close/>
                  <a:moveTo>
                    <a:pt x="297567" y="1110488"/>
                  </a:moveTo>
                  <a:lnTo>
                    <a:pt x="678287" y="1110488"/>
                  </a:lnTo>
                  <a:lnTo>
                    <a:pt x="678287" y="1499364"/>
                  </a:lnTo>
                  <a:lnTo>
                    <a:pt x="297567" y="1499364"/>
                  </a:lnTo>
                  <a:close/>
                  <a:moveTo>
                    <a:pt x="2064913" y="660401"/>
                  </a:moveTo>
                  <a:lnTo>
                    <a:pt x="2445633" y="660401"/>
                  </a:lnTo>
                  <a:lnTo>
                    <a:pt x="2445633" y="1049277"/>
                  </a:lnTo>
                  <a:lnTo>
                    <a:pt x="2064913" y="1049277"/>
                  </a:lnTo>
                  <a:close/>
                  <a:moveTo>
                    <a:pt x="1623077" y="660401"/>
                  </a:moveTo>
                  <a:lnTo>
                    <a:pt x="2003797" y="660401"/>
                  </a:lnTo>
                  <a:lnTo>
                    <a:pt x="2003797" y="1049277"/>
                  </a:lnTo>
                  <a:lnTo>
                    <a:pt x="1623077" y="1049277"/>
                  </a:lnTo>
                  <a:close/>
                  <a:moveTo>
                    <a:pt x="1181240" y="660401"/>
                  </a:moveTo>
                  <a:lnTo>
                    <a:pt x="1561960" y="660401"/>
                  </a:lnTo>
                  <a:lnTo>
                    <a:pt x="1561960" y="1049277"/>
                  </a:lnTo>
                  <a:lnTo>
                    <a:pt x="1181240" y="1049277"/>
                  </a:lnTo>
                  <a:close/>
                  <a:moveTo>
                    <a:pt x="739404" y="660401"/>
                  </a:moveTo>
                  <a:lnTo>
                    <a:pt x="1120124" y="660401"/>
                  </a:lnTo>
                  <a:lnTo>
                    <a:pt x="1120124" y="1049277"/>
                  </a:lnTo>
                  <a:lnTo>
                    <a:pt x="739404" y="1049277"/>
                  </a:lnTo>
                  <a:close/>
                  <a:moveTo>
                    <a:pt x="297567" y="660401"/>
                  </a:moveTo>
                  <a:lnTo>
                    <a:pt x="678287" y="660401"/>
                  </a:lnTo>
                  <a:lnTo>
                    <a:pt x="678287" y="1049277"/>
                  </a:lnTo>
                  <a:lnTo>
                    <a:pt x="297567" y="1049277"/>
                  </a:lnTo>
                  <a:close/>
                  <a:moveTo>
                    <a:pt x="182880" y="533400"/>
                  </a:moveTo>
                  <a:lnTo>
                    <a:pt x="182880" y="2076450"/>
                  </a:lnTo>
                  <a:lnTo>
                    <a:pt x="2560320" y="2076450"/>
                  </a:lnTo>
                  <a:lnTo>
                    <a:pt x="2560320" y="533400"/>
                  </a:lnTo>
                  <a:close/>
                  <a:moveTo>
                    <a:pt x="174623" y="0"/>
                  </a:moveTo>
                  <a:lnTo>
                    <a:pt x="2568577" y="0"/>
                  </a:lnTo>
                  <a:cubicBezTo>
                    <a:pt x="2665019" y="0"/>
                    <a:pt x="2743200" y="78181"/>
                    <a:pt x="2743200" y="174623"/>
                  </a:cubicBezTo>
                  <a:lnTo>
                    <a:pt x="2743200" y="2092327"/>
                  </a:lnTo>
                  <a:cubicBezTo>
                    <a:pt x="2743200" y="2188769"/>
                    <a:pt x="2665019" y="2266950"/>
                    <a:pt x="2568577" y="2266950"/>
                  </a:cubicBezTo>
                  <a:lnTo>
                    <a:pt x="174623" y="2266950"/>
                  </a:lnTo>
                  <a:cubicBezTo>
                    <a:pt x="78181" y="2266950"/>
                    <a:pt x="0" y="2188769"/>
                    <a:pt x="0" y="2092327"/>
                  </a:cubicBezTo>
                  <a:lnTo>
                    <a:pt x="0" y="174623"/>
                  </a:lnTo>
                  <a:cubicBezTo>
                    <a:pt x="0" y="78181"/>
                    <a:pt x="78181" y="0"/>
                    <a:pt x="17462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25" tIns="89625" rIns="89625" bIns="89625" numCol="1" spcCol="0" rtlCol="0" fromWordArt="0" anchor="b" anchorCtr="0" forceAA="0" compatLnSpc="1">
              <a:prstTxWarp prst="textNoShape">
                <a:avLst/>
              </a:prstTxWarp>
              <a:noAutofit/>
            </a:bodyPr>
            <a:lstStyle/>
            <a:p>
              <a:pPr algn="r"/>
              <a:endParaRPr lang="en-US" sz="1176" dirty="0">
                <a:solidFill>
                  <a:srgbClr val="FFFFFF"/>
                </a:solidFill>
              </a:endParaRPr>
            </a:p>
          </p:txBody>
        </p:sp>
      </p:grpSp>
      <p:sp>
        <p:nvSpPr>
          <p:cNvPr id="8" name="Rectangle 7"/>
          <p:cNvSpPr/>
          <p:nvPr/>
        </p:nvSpPr>
        <p:spPr>
          <a:xfrm>
            <a:off x="417752" y="1438271"/>
            <a:ext cx="11219990" cy="484585"/>
          </a:xfrm>
          <a:prstGeom prst="rect">
            <a:avLst/>
          </a:prstGeom>
        </p:spPr>
        <p:txBody>
          <a:bodyPr wrap="square" lIns="0">
            <a:spAutoFit/>
          </a:bodyPr>
          <a:lstStyle/>
          <a:p>
            <a:r>
              <a:rPr lang="en-US" sz="2561" dirty="0">
                <a:solidFill>
                  <a:srgbClr val="000000"/>
                </a:solidFill>
                <a:latin typeface="Segoe UI Light"/>
                <a:cs typeface="Segoe UI Semilight" panose="020B0402040204020203" pitchFamily="34" charset="0"/>
              </a:rPr>
              <a:t>Similar to </a:t>
            </a:r>
            <a:r>
              <a:rPr lang="en-US" sz="2561" dirty="0" smtClean="0">
                <a:solidFill>
                  <a:srgbClr val="000000"/>
                </a:solidFill>
                <a:latin typeface="Segoe UI Light"/>
                <a:cs typeface="Segoe UI Semilight" panose="020B0402040204020203" pitchFamily="34" charset="0"/>
              </a:rPr>
              <a:t>Office 365, </a:t>
            </a:r>
            <a:r>
              <a:rPr lang="en-US" sz="2561" dirty="0">
                <a:solidFill>
                  <a:srgbClr val="000000"/>
                </a:solidFill>
                <a:latin typeface="Segoe UI Light"/>
                <a:cs typeface="Segoe UI Semilight" panose="020B0402040204020203" pitchFamily="34" charset="0"/>
              </a:rPr>
              <a:t>some Azure services will have yearly subscription options</a:t>
            </a:r>
            <a:endParaRPr lang="en-US" sz="2561" dirty="0">
              <a:solidFill>
                <a:srgbClr val="000000"/>
              </a:solidFill>
              <a:latin typeface="Segoe UI Light"/>
            </a:endParaRPr>
          </a:p>
        </p:txBody>
      </p:sp>
      <p:sp>
        <p:nvSpPr>
          <p:cNvPr id="172" name="Rectangle 171"/>
          <p:cNvSpPr/>
          <p:nvPr/>
        </p:nvSpPr>
        <p:spPr bwMode="auto">
          <a:xfrm>
            <a:off x="519974" y="3800625"/>
            <a:ext cx="5525586" cy="1141723"/>
          </a:xfrm>
          <a:prstGeom prst="rect">
            <a:avLst/>
          </a:prstGeom>
          <a:solidFill>
            <a:srgbClr val="F2F2F2"/>
          </a:solidFill>
          <a:ln w="28575" cap="flat" cmpd="sng" algn="ctr">
            <a:noFill/>
            <a:prstDash val="dash"/>
            <a:headEnd type="none" w="med" len="med"/>
            <a:tailEnd type="none" w="med" len="med"/>
          </a:ln>
          <a:effectLst/>
        </p:spPr>
        <p:txBody>
          <a:bodyPr rot="0" spcFirstLastPara="0" vertOverflow="overflow" horzOverflow="overflow" vert="horz" wrap="square" lIns="167251" tIns="66901" rIns="41813" bIns="66901" numCol="1" spcCol="0" rtlCol="0" fromWordArt="0" anchor="ctr" anchorCtr="0" forceAA="0" compatLnSpc="1">
            <a:prstTxWarp prst="textNoShape">
              <a:avLst/>
            </a:prstTxWarp>
            <a:noAutofit/>
          </a:bodyPr>
          <a:lstStyle/>
          <a:p>
            <a:pPr algn="ctr" defTabSz="852766" fontAlgn="base">
              <a:lnSpc>
                <a:spcPct val="90000"/>
              </a:lnSpc>
              <a:spcBef>
                <a:spcPct val="0"/>
              </a:spcBef>
              <a:spcAft>
                <a:spcPct val="0"/>
              </a:spcAft>
              <a:defRPr/>
            </a:pPr>
            <a:endParaRPr lang="en-US" sz="100" kern="0" dirty="0">
              <a:solidFill>
                <a:srgbClr val="000000"/>
              </a:solidFill>
              <a:latin typeface="Segoe UI Light" panose="020B0502040204020203" pitchFamily="34" charset="0"/>
              <a:ea typeface="Segoe UI" pitchFamily="34" charset="0"/>
              <a:cs typeface="Segoe UI Light" panose="020B0502040204020203" pitchFamily="34" charset="0"/>
            </a:endParaRPr>
          </a:p>
          <a:p>
            <a:pPr defTabSz="852766" fontAlgn="base">
              <a:lnSpc>
                <a:spcPct val="90000"/>
              </a:lnSpc>
              <a:spcBef>
                <a:spcPct val="0"/>
              </a:spcBef>
              <a:spcAft>
                <a:spcPct val="0"/>
              </a:spcAft>
              <a:defRPr/>
            </a:pPr>
            <a:r>
              <a:rPr lang="en-US" sz="2400" kern="0" dirty="0">
                <a:solidFill>
                  <a:srgbClr val="0072C6"/>
                </a:solidFill>
                <a:latin typeface="Segoe UI Light"/>
                <a:ea typeface="Segoe UI" pitchFamily="34" charset="0"/>
                <a:cs typeface="Segoe UI Semilight" panose="020B0402040204020203" pitchFamily="34" charset="0"/>
              </a:rPr>
              <a:t>Service</a:t>
            </a:r>
            <a:r>
              <a:rPr lang="en-US" sz="2000" i="1" kern="0" dirty="0">
                <a:solidFill>
                  <a:srgbClr val="0072C6"/>
                </a:solidFill>
                <a:latin typeface="Segoe UI Light"/>
                <a:ea typeface="Segoe UI" pitchFamily="34" charset="0"/>
                <a:cs typeface="Segoe UI Light" panose="020B0502040204020203" pitchFamily="34" charset="0"/>
              </a:rPr>
              <a:t> </a:t>
            </a:r>
          </a:p>
          <a:p>
            <a:pPr defTabSz="852766" fontAlgn="base">
              <a:lnSpc>
                <a:spcPct val="90000"/>
              </a:lnSpc>
              <a:spcBef>
                <a:spcPct val="0"/>
              </a:spcBef>
              <a:spcAft>
                <a:spcPct val="0"/>
              </a:spcAft>
              <a:defRPr/>
            </a:pPr>
            <a:r>
              <a:rPr lang="en-US" i="1" kern="0" dirty="0" smtClean="0">
                <a:solidFill>
                  <a:srgbClr val="000000"/>
                </a:solidFill>
                <a:latin typeface="Segoe UI Light" panose="020B0502040204020203" pitchFamily="34" charset="0"/>
                <a:ea typeface="Segoe UI" pitchFamily="34" charset="0"/>
                <a:cs typeface="Segoe UI Light" panose="020B0502040204020203" pitchFamily="34" charset="0"/>
              </a:rPr>
              <a:t>(e.g., </a:t>
            </a:r>
            <a:r>
              <a:rPr lang="en-US" i="1" kern="0" dirty="0" smtClean="0">
                <a:solidFill>
                  <a:srgbClr val="000000"/>
                </a:solidFill>
                <a:latin typeface="Segoe UI Light" panose="020B0502040204020203" pitchFamily="34" charset="0"/>
                <a:ea typeface="Segoe UI" pitchFamily="34" charset="0"/>
                <a:cs typeface="Segoe UI Light" panose="020B0502040204020203" pitchFamily="34" charset="0"/>
              </a:rPr>
              <a:t>Site Recovery)</a:t>
            </a:r>
            <a:endParaRPr lang="en-US" i="1" kern="0" dirty="0">
              <a:solidFill>
                <a:srgbClr val="000000"/>
              </a:solidFill>
              <a:latin typeface="Segoe UI Light" panose="020B0502040204020203" pitchFamily="34" charset="0"/>
              <a:ea typeface="Segoe UI" pitchFamily="34" charset="0"/>
              <a:cs typeface="Segoe UI Light" panose="020B0502040204020203" pitchFamily="34" charset="0"/>
            </a:endParaRPr>
          </a:p>
        </p:txBody>
      </p:sp>
      <p:grpSp>
        <p:nvGrpSpPr>
          <p:cNvPr id="178" name="Group 177"/>
          <p:cNvGrpSpPr/>
          <p:nvPr/>
        </p:nvGrpSpPr>
        <p:grpSpPr>
          <a:xfrm>
            <a:off x="4940579" y="3957931"/>
            <a:ext cx="851438" cy="861383"/>
            <a:chOff x="2929715" y="3393773"/>
            <a:chExt cx="930998" cy="734998"/>
          </a:xfrm>
          <a:solidFill>
            <a:schemeClr val="accent1"/>
          </a:solidFill>
        </p:grpSpPr>
        <p:sp>
          <p:nvSpPr>
            <p:cNvPr id="179" name="Rectangle 178"/>
            <p:cNvSpPr/>
            <p:nvPr/>
          </p:nvSpPr>
          <p:spPr bwMode="auto">
            <a:xfrm>
              <a:off x="2929715" y="3393773"/>
              <a:ext cx="930998" cy="73499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12" tIns="44812" rIns="44812" bIns="44812" numCol="1" rtlCol="0" anchor="b" anchorCtr="0" compatLnSpc="1">
              <a:prstTxWarp prst="textNoShape">
                <a:avLst/>
              </a:prstTxWarp>
            </a:bodyPr>
            <a:lstStyle/>
            <a:p>
              <a:pPr algn="ctr" defTabSz="913731" fontAlgn="base">
                <a:spcBef>
                  <a:spcPct val="0"/>
                </a:spcBef>
                <a:spcAft>
                  <a:spcPct val="0"/>
                </a:spcAft>
              </a:pPr>
              <a:endParaRPr lang="en-US" sz="1029" dirty="0">
                <a:solidFill>
                  <a:srgbClr val="FFFFFF"/>
                </a:solidFill>
                <a:latin typeface="Segoe UI Light"/>
              </a:endParaRPr>
            </a:p>
          </p:txBody>
        </p:sp>
        <p:sp>
          <p:nvSpPr>
            <p:cNvPr id="180" name="Rectangle 179"/>
            <p:cNvSpPr/>
            <p:nvPr/>
          </p:nvSpPr>
          <p:spPr bwMode="auto">
            <a:xfrm>
              <a:off x="2929715" y="3393773"/>
              <a:ext cx="930998" cy="734998"/>
            </a:xfrm>
            <a:prstGeom prst="rect">
              <a:avLst/>
            </a:prstGeom>
            <a:solidFill>
              <a:schemeClr val="accent3"/>
            </a:solidFill>
            <a:ln w="3175">
              <a:solidFill>
                <a:schemeClr val="accent3">
                  <a:lumMod val="75000"/>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a:solidFill>
                    <a:srgbClr val="FFFFFF"/>
                  </a:solidFill>
                </a:rPr>
                <a:t>Site Recovery</a:t>
              </a:r>
            </a:p>
          </p:txBody>
        </p:sp>
        <p:sp>
          <p:nvSpPr>
            <p:cNvPr id="181" name="Rectangle 98"/>
            <p:cNvSpPr/>
            <p:nvPr/>
          </p:nvSpPr>
          <p:spPr>
            <a:xfrm>
              <a:off x="3156232" y="3493240"/>
              <a:ext cx="477963" cy="358152"/>
            </a:xfrm>
            <a:custGeom>
              <a:avLst/>
              <a:gdLst/>
              <a:ahLst/>
              <a:cxnLst/>
              <a:rect l="l" t="t" r="r" b="b"/>
              <a:pathLst>
                <a:path w="2743200" h="2266950">
                  <a:moveTo>
                    <a:pt x="2064913" y="1560574"/>
                  </a:moveTo>
                  <a:lnTo>
                    <a:pt x="2445633" y="1560574"/>
                  </a:lnTo>
                  <a:lnTo>
                    <a:pt x="2445633" y="1949450"/>
                  </a:lnTo>
                  <a:lnTo>
                    <a:pt x="2064913" y="1949450"/>
                  </a:lnTo>
                  <a:close/>
                  <a:moveTo>
                    <a:pt x="1623077" y="1560574"/>
                  </a:moveTo>
                  <a:lnTo>
                    <a:pt x="2003797" y="1560574"/>
                  </a:lnTo>
                  <a:lnTo>
                    <a:pt x="2003797" y="1949450"/>
                  </a:lnTo>
                  <a:lnTo>
                    <a:pt x="1623077" y="1949450"/>
                  </a:lnTo>
                  <a:close/>
                  <a:moveTo>
                    <a:pt x="1181240" y="1560574"/>
                  </a:moveTo>
                  <a:lnTo>
                    <a:pt x="1561960" y="1560574"/>
                  </a:lnTo>
                  <a:lnTo>
                    <a:pt x="1561960" y="1949450"/>
                  </a:lnTo>
                  <a:lnTo>
                    <a:pt x="1181240" y="1949450"/>
                  </a:lnTo>
                  <a:close/>
                  <a:moveTo>
                    <a:pt x="739404" y="1560574"/>
                  </a:moveTo>
                  <a:lnTo>
                    <a:pt x="1120124" y="1560574"/>
                  </a:lnTo>
                  <a:lnTo>
                    <a:pt x="1120124" y="1949450"/>
                  </a:lnTo>
                  <a:lnTo>
                    <a:pt x="739404" y="1949450"/>
                  </a:lnTo>
                  <a:close/>
                  <a:moveTo>
                    <a:pt x="297567" y="1560574"/>
                  </a:moveTo>
                  <a:lnTo>
                    <a:pt x="678287" y="1560574"/>
                  </a:lnTo>
                  <a:lnTo>
                    <a:pt x="678287" y="1949450"/>
                  </a:lnTo>
                  <a:lnTo>
                    <a:pt x="297567" y="1949450"/>
                  </a:lnTo>
                  <a:close/>
                  <a:moveTo>
                    <a:pt x="2064913" y="1110488"/>
                  </a:moveTo>
                  <a:lnTo>
                    <a:pt x="2445633" y="1110488"/>
                  </a:lnTo>
                  <a:lnTo>
                    <a:pt x="2445633" y="1499364"/>
                  </a:lnTo>
                  <a:lnTo>
                    <a:pt x="2064913" y="1499364"/>
                  </a:lnTo>
                  <a:close/>
                  <a:moveTo>
                    <a:pt x="1623077" y="1110488"/>
                  </a:moveTo>
                  <a:lnTo>
                    <a:pt x="2003797" y="1110488"/>
                  </a:lnTo>
                  <a:lnTo>
                    <a:pt x="2003797" y="1499364"/>
                  </a:lnTo>
                  <a:lnTo>
                    <a:pt x="1623077" y="1499364"/>
                  </a:lnTo>
                  <a:close/>
                  <a:moveTo>
                    <a:pt x="1181240" y="1110488"/>
                  </a:moveTo>
                  <a:lnTo>
                    <a:pt x="1561960" y="1110488"/>
                  </a:lnTo>
                  <a:lnTo>
                    <a:pt x="1561960" y="1499364"/>
                  </a:lnTo>
                  <a:lnTo>
                    <a:pt x="1181240" y="1499364"/>
                  </a:lnTo>
                  <a:close/>
                  <a:moveTo>
                    <a:pt x="739404" y="1110488"/>
                  </a:moveTo>
                  <a:lnTo>
                    <a:pt x="1120124" y="1110488"/>
                  </a:lnTo>
                  <a:lnTo>
                    <a:pt x="1120124" y="1499364"/>
                  </a:lnTo>
                  <a:lnTo>
                    <a:pt x="739404" y="1499364"/>
                  </a:lnTo>
                  <a:close/>
                  <a:moveTo>
                    <a:pt x="297567" y="1110488"/>
                  </a:moveTo>
                  <a:lnTo>
                    <a:pt x="678287" y="1110488"/>
                  </a:lnTo>
                  <a:lnTo>
                    <a:pt x="678287" y="1499364"/>
                  </a:lnTo>
                  <a:lnTo>
                    <a:pt x="297567" y="1499364"/>
                  </a:lnTo>
                  <a:close/>
                  <a:moveTo>
                    <a:pt x="2064913" y="660401"/>
                  </a:moveTo>
                  <a:lnTo>
                    <a:pt x="2445633" y="660401"/>
                  </a:lnTo>
                  <a:lnTo>
                    <a:pt x="2445633" y="1049277"/>
                  </a:lnTo>
                  <a:lnTo>
                    <a:pt x="2064913" y="1049277"/>
                  </a:lnTo>
                  <a:close/>
                  <a:moveTo>
                    <a:pt x="1623077" y="660401"/>
                  </a:moveTo>
                  <a:lnTo>
                    <a:pt x="2003797" y="660401"/>
                  </a:lnTo>
                  <a:lnTo>
                    <a:pt x="2003797" y="1049277"/>
                  </a:lnTo>
                  <a:lnTo>
                    <a:pt x="1623077" y="1049277"/>
                  </a:lnTo>
                  <a:close/>
                  <a:moveTo>
                    <a:pt x="1181240" y="660401"/>
                  </a:moveTo>
                  <a:lnTo>
                    <a:pt x="1561960" y="660401"/>
                  </a:lnTo>
                  <a:lnTo>
                    <a:pt x="1561960" y="1049277"/>
                  </a:lnTo>
                  <a:lnTo>
                    <a:pt x="1181240" y="1049277"/>
                  </a:lnTo>
                  <a:close/>
                  <a:moveTo>
                    <a:pt x="739404" y="660401"/>
                  </a:moveTo>
                  <a:lnTo>
                    <a:pt x="1120124" y="660401"/>
                  </a:lnTo>
                  <a:lnTo>
                    <a:pt x="1120124" y="1049277"/>
                  </a:lnTo>
                  <a:lnTo>
                    <a:pt x="739404" y="1049277"/>
                  </a:lnTo>
                  <a:close/>
                  <a:moveTo>
                    <a:pt x="297567" y="660401"/>
                  </a:moveTo>
                  <a:lnTo>
                    <a:pt x="678287" y="660401"/>
                  </a:lnTo>
                  <a:lnTo>
                    <a:pt x="678287" y="1049277"/>
                  </a:lnTo>
                  <a:lnTo>
                    <a:pt x="297567" y="1049277"/>
                  </a:lnTo>
                  <a:close/>
                  <a:moveTo>
                    <a:pt x="182880" y="533400"/>
                  </a:moveTo>
                  <a:lnTo>
                    <a:pt x="182880" y="2076450"/>
                  </a:lnTo>
                  <a:lnTo>
                    <a:pt x="2560320" y="2076450"/>
                  </a:lnTo>
                  <a:lnTo>
                    <a:pt x="2560320" y="533400"/>
                  </a:lnTo>
                  <a:close/>
                  <a:moveTo>
                    <a:pt x="174623" y="0"/>
                  </a:moveTo>
                  <a:lnTo>
                    <a:pt x="2568577" y="0"/>
                  </a:lnTo>
                  <a:cubicBezTo>
                    <a:pt x="2665019" y="0"/>
                    <a:pt x="2743200" y="78181"/>
                    <a:pt x="2743200" y="174623"/>
                  </a:cubicBezTo>
                  <a:lnTo>
                    <a:pt x="2743200" y="2092327"/>
                  </a:lnTo>
                  <a:cubicBezTo>
                    <a:pt x="2743200" y="2188769"/>
                    <a:pt x="2665019" y="2266950"/>
                    <a:pt x="2568577" y="2266950"/>
                  </a:cubicBezTo>
                  <a:lnTo>
                    <a:pt x="174623" y="2266950"/>
                  </a:lnTo>
                  <a:cubicBezTo>
                    <a:pt x="78181" y="2266950"/>
                    <a:pt x="0" y="2188769"/>
                    <a:pt x="0" y="2092327"/>
                  </a:cubicBezTo>
                  <a:lnTo>
                    <a:pt x="0" y="174623"/>
                  </a:lnTo>
                  <a:cubicBezTo>
                    <a:pt x="0" y="78181"/>
                    <a:pt x="78181" y="0"/>
                    <a:pt x="17462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25" tIns="89625" rIns="89625" bIns="89625" numCol="1" spcCol="0" rtlCol="0" fromWordArt="0" anchor="b" anchorCtr="0" forceAA="0" compatLnSpc="1">
              <a:prstTxWarp prst="textNoShape">
                <a:avLst/>
              </a:prstTxWarp>
              <a:noAutofit/>
            </a:bodyPr>
            <a:lstStyle/>
            <a:p>
              <a:pPr algn="r"/>
              <a:endParaRPr lang="en-US" sz="1176" dirty="0">
                <a:solidFill>
                  <a:srgbClr val="FFFFFF"/>
                </a:solidFill>
              </a:endParaRPr>
            </a:p>
          </p:txBody>
        </p:sp>
      </p:grpSp>
      <p:sp>
        <p:nvSpPr>
          <p:cNvPr id="206" name="Rectangle 205"/>
          <p:cNvSpPr/>
          <p:nvPr/>
        </p:nvSpPr>
        <p:spPr bwMode="auto">
          <a:xfrm>
            <a:off x="519974" y="4999322"/>
            <a:ext cx="5525586" cy="1141522"/>
          </a:xfrm>
          <a:prstGeom prst="rect">
            <a:avLst/>
          </a:prstGeom>
          <a:solidFill>
            <a:srgbClr val="F3F3F3"/>
          </a:solidFill>
          <a:ln w="28575" cap="flat" cmpd="sng" algn="ctr">
            <a:noFill/>
            <a:prstDash val="dash"/>
            <a:headEnd type="none" w="med" len="med"/>
            <a:tailEnd type="none" w="med" len="med"/>
          </a:ln>
          <a:effectLst/>
        </p:spPr>
        <p:txBody>
          <a:bodyPr rot="0" spcFirstLastPara="0" vertOverflow="overflow" horzOverflow="overflow" vert="horz" wrap="square" lIns="167251" tIns="66901" rIns="41813" bIns="66901" numCol="1" spcCol="0" rtlCol="0" fromWordArt="0" anchor="ctr" anchorCtr="0" forceAA="0" compatLnSpc="1">
            <a:prstTxWarp prst="textNoShape">
              <a:avLst/>
            </a:prstTxWarp>
            <a:noAutofit/>
          </a:bodyPr>
          <a:lstStyle/>
          <a:p>
            <a:pPr algn="ctr" defTabSz="852766" fontAlgn="base">
              <a:lnSpc>
                <a:spcPct val="90000"/>
              </a:lnSpc>
              <a:spcBef>
                <a:spcPct val="0"/>
              </a:spcBef>
              <a:spcAft>
                <a:spcPct val="0"/>
              </a:spcAft>
              <a:defRPr/>
            </a:pPr>
            <a:endParaRPr lang="en-US" sz="100" kern="0" dirty="0">
              <a:solidFill>
                <a:srgbClr val="000000"/>
              </a:solidFill>
              <a:latin typeface="Segoe UI Light" panose="020B0502040204020203" pitchFamily="34" charset="0"/>
              <a:ea typeface="Segoe UI" pitchFamily="34" charset="0"/>
              <a:cs typeface="Segoe UI Light" panose="020B0502040204020203" pitchFamily="34" charset="0"/>
            </a:endParaRPr>
          </a:p>
          <a:p>
            <a:pPr defTabSz="852766" fontAlgn="base">
              <a:lnSpc>
                <a:spcPct val="90000"/>
              </a:lnSpc>
              <a:spcBef>
                <a:spcPct val="0"/>
              </a:spcBef>
              <a:spcAft>
                <a:spcPct val="0"/>
              </a:spcAft>
              <a:defRPr/>
            </a:pPr>
            <a:r>
              <a:rPr lang="en-US" sz="2400" kern="0" dirty="0">
                <a:solidFill>
                  <a:srgbClr val="0072C6"/>
                </a:solidFill>
                <a:latin typeface="Segoe UI Light"/>
                <a:ea typeface="Segoe UI" pitchFamily="34" charset="0"/>
                <a:cs typeface="Segoe UI Semilight" panose="020B0402040204020203" pitchFamily="34" charset="0"/>
              </a:rPr>
              <a:t>Suite of services</a:t>
            </a:r>
            <a:endParaRPr lang="en-US" sz="2000" i="1" kern="0" dirty="0">
              <a:solidFill>
                <a:srgbClr val="0072C6"/>
              </a:solidFill>
              <a:latin typeface="Segoe UI Light"/>
              <a:ea typeface="Segoe UI" pitchFamily="34" charset="0"/>
              <a:cs typeface="Segoe UI Light" panose="020B0502040204020203" pitchFamily="34" charset="0"/>
            </a:endParaRPr>
          </a:p>
          <a:p>
            <a:pPr defTabSz="852766" fontAlgn="base">
              <a:lnSpc>
                <a:spcPct val="90000"/>
              </a:lnSpc>
              <a:spcBef>
                <a:spcPct val="0"/>
              </a:spcBef>
              <a:spcAft>
                <a:spcPct val="0"/>
              </a:spcAft>
              <a:defRPr/>
            </a:pPr>
            <a:r>
              <a:rPr lang="en-US" i="1" kern="0" dirty="0" smtClean="0">
                <a:solidFill>
                  <a:srgbClr val="000000"/>
                </a:solidFill>
                <a:latin typeface="Segoe UI Light" panose="020B0502040204020203" pitchFamily="34" charset="0"/>
                <a:ea typeface="Segoe UI" pitchFamily="34" charset="0"/>
                <a:cs typeface="Segoe UI Light" panose="020B0502040204020203" pitchFamily="34" charset="0"/>
              </a:rPr>
              <a:t>(e.g., Backup+Site Recovery)</a:t>
            </a:r>
            <a:endParaRPr lang="en-US" i="1" kern="0" dirty="0">
              <a:solidFill>
                <a:srgbClr val="000000"/>
              </a:solidFill>
              <a:latin typeface="Segoe UI Light" panose="020B0502040204020203" pitchFamily="34" charset="0"/>
              <a:ea typeface="Segoe UI" pitchFamily="34" charset="0"/>
              <a:cs typeface="Segoe UI Light" panose="020B0502040204020203" pitchFamily="34" charset="0"/>
            </a:endParaRPr>
          </a:p>
        </p:txBody>
      </p:sp>
      <p:grpSp>
        <p:nvGrpSpPr>
          <p:cNvPr id="4" name="Group 3"/>
          <p:cNvGrpSpPr/>
          <p:nvPr/>
        </p:nvGrpSpPr>
        <p:grpSpPr>
          <a:xfrm>
            <a:off x="4950840" y="5152294"/>
            <a:ext cx="851438" cy="861383"/>
            <a:chOff x="5597601" y="5356901"/>
            <a:chExt cx="930998" cy="734998"/>
          </a:xfrm>
          <a:solidFill>
            <a:schemeClr val="accent1"/>
          </a:solidFill>
        </p:grpSpPr>
        <p:sp>
          <p:nvSpPr>
            <p:cNvPr id="173" name="Rectangle 172"/>
            <p:cNvSpPr/>
            <p:nvPr/>
          </p:nvSpPr>
          <p:spPr bwMode="auto">
            <a:xfrm>
              <a:off x="5597601" y="5356901"/>
              <a:ext cx="930998" cy="734998"/>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12" tIns="44812" rIns="44812" bIns="44812" numCol="1" rtlCol="0" anchor="b" anchorCtr="0" compatLnSpc="1">
              <a:prstTxWarp prst="textNoShape">
                <a:avLst/>
              </a:prstTxWarp>
            </a:bodyPr>
            <a:lstStyle/>
            <a:p>
              <a:pPr algn="ctr" defTabSz="913731" fontAlgn="base">
                <a:spcBef>
                  <a:spcPct val="0"/>
                </a:spcBef>
                <a:spcAft>
                  <a:spcPct val="0"/>
                </a:spcAft>
              </a:pPr>
              <a:endParaRPr lang="en-US" sz="1029" dirty="0">
                <a:solidFill>
                  <a:srgbClr val="FFFFFF"/>
                </a:solidFill>
                <a:latin typeface="Segoe UI Light"/>
              </a:endParaRPr>
            </a:p>
          </p:txBody>
        </p:sp>
        <p:grpSp>
          <p:nvGrpSpPr>
            <p:cNvPr id="175" name="Group 174"/>
            <p:cNvGrpSpPr/>
            <p:nvPr/>
          </p:nvGrpSpPr>
          <p:grpSpPr>
            <a:xfrm>
              <a:off x="5597601" y="5356901"/>
              <a:ext cx="930998" cy="734998"/>
              <a:chOff x="9772381" y="5755528"/>
              <a:chExt cx="930998" cy="734998"/>
            </a:xfrm>
            <a:grpFill/>
          </p:grpSpPr>
          <p:sp>
            <p:nvSpPr>
              <p:cNvPr id="176" name="Rectangle 175"/>
              <p:cNvSpPr/>
              <p:nvPr/>
            </p:nvSpPr>
            <p:spPr bwMode="auto">
              <a:xfrm>
                <a:off x="9772381" y="5755528"/>
                <a:ext cx="930998" cy="734998"/>
              </a:xfrm>
              <a:prstGeom prst="rect">
                <a:avLst/>
              </a:prstGeom>
              <a:solidFill>
                <a:schemeClr val="accent5"/>
              </a:solid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a:solidFill>
                      <a:srgbClr val="FFFFFF"/>
                    </a:solidFill>
                  </a:rPr>
                  <a:t>Site Recovery</a:t>
                </a:r>
              </a:p>
            </p:txBody>
          </p:sp>
          <p:sp>
            <p:nvSpPr>
              <p:cNvPr id="177" name="Rectangle 98"/>
              <p:cNvSpPr/>
              <p:nvPr/>
            </p:nvSpPr>
            <p:spPr>
              <a:xfrm>
                <a:off x="9998899" y="5875443"/>
                <a:ext cx="477963" cy="358152"/>
              </a:xfrm>
              <a:custGeom>
                <a:avLst/>
                <a:gdLst/>
                <a:ahLst/>
                <a:cxnLst/>
                <a:rect l="l" t="t" r="r" b="b"/>
                <a:pathLst>
                  <a:path w="2743200" h="2266950">
                    <a:moveTo>
                      <a:pt x="2064913" y="1560574"/>
                    </a:moveTo>
                    <a:lnTo>
                      <a:pt x="2445633" y="1560574"/>
                    </a:lnTo>
                    <a:lnTo>
                      <a:pt x="2445633" y="1949450"/>
                    </a:lnTo>
                    <a:lnTo>
                      <a:pt x="2064913" y="1949450"/>
                    </a:lnTo>
                    <a:close/>
                    <a:moveTo>
                      <a:pt x="1623077" y="1560574"/>
                    </a:moveTo>
                    <a:lnTo>
                      <a:pt x="2003797" y="1560574"/>
                    </a:lnTo>
                    <a:lnTo>
                      <a:pt x="2003797" y="1949450"/>
                    </a:lnTo>
                    <a:lnTo>
                      <a:pt x="1623077" y="1949450"/>
                    </a:lnTo>
                    <a:close/>
                    <a:moveTo>
                      <a:pt x="1181240" y="1560574"/>
                    </a:moveTo>
                    <a:lnTo>
                      <a:pt x="1561960" y="1560574"/>
                    </a:lnTo>
                    <a:lnTo>
                      <a:pt x="1561960" y="1949450"/>
                    </a:lnTo>
                    <a:lnTo>
                      <a:pt x="1181240" y="1949450"/>
                    </a:lnTo>
                    <a:close/>
                    <a:moveTo>
                      <a:pt x="739404" y="1560574"/>
                    </a:moveTo>
                    <a:lnTo>
                      <a:pt x="1120124" y="1560574"/>
                    </a:lnTo>
                    <a:lnTo>
                      <a:pt x="1120124" y="1949450"/>
                    </a:lnTo>
                    <a:lnTo>
                      <a:pt x="739404" y="1949450"/>
                    </a:lnTo>
                    <a:close/>
                    <a:moveTo>
                      <a:pt x="297567" y="1560574"/>
                    </a:moveTo>
                    <a:lnTo>
                      <a:pt x="678287" y="1560574"/>
                    </a:lnTo>
                    <a:lnTo>
                      <a:pt x="678287" y="1949450"/>
                    </a:lnTo>
                    <a:lnTo>
                      <a:pt x="297567" y="1949450"/>
                    </a:lnTo>
                    <a:close/>
                    <a:moveTo>
                      <a:pt x="2064913" y="1110488"/>
                    </a:moveTo>
                    <a:lnTo>
                      <a:pt x="2445633" y="1110488"/>
                    </a:lnTo>
                    <a:lnTo>
                      <a:pt x="2445633" y="1499364"/>
                    </a:lnTo>
                    <a:lnTo>
                      <a:pt x="2064913" y="1499364"/>
                    </a:lnTo>
                    <a:close/>
                    <a:moveTo>
                      <a:pt x="1623077" y="1110488"/>
                    </a:moveTo>
                    <a:lnTo>
                      <a:pt x="2003797" y="1110488"/>
                    </a:lnTo>
                    <a:lnTo>
                      <a:pt x="2003797" y="1499364"/>
                    </a:lnTo>
                    <a:lnTo>
                      <a:pt x="1623077" y="1499364"/>
                    </a:lnTo>
                    <a:close/>
                    <a:moveTo>
                      <a:pt x="1181240" y="1110488"/>
                    </a:moveTo>
                    <a:lnTo>
                      <a:pt x="1561960" y="1110488"/>
                    </a:lnTo>
                    <a:lnTo>
                      <a:pt x="1561960" y="1499364"/>
                    </a:lnTo>
                    <a:lnTo>
                      <a:pt x="1181240" y="1499364"/>
                    </a:lnTo>
                    <a:close/>
                    <a:moveTo>
                      <a:pt x="739404" y="1110488"/>
                    </a:moveTo>
                    <a:lnTo>
                      <a:pt x="1120124" y="1110488"/>
                    </a:lnTo>
                    <a:lnTo>
                      <a:pt x="1120124" y="1499364"/>
                    </a:lnTo>
                    <a:lnTo>
                      <a:pt x="739404" y="1499364"/>
                    </a:lnTo>
                    <a:close/>
                    <a:moveTo>
                      <a:pt x="297567" y="1110488"/>
                    </a:moveTo>
                    <a:lnTo>
                      <a:pt x="678287" y="1110488"/>
                    </a:lnTo>
                    <a:lnTo>
                      <a:pt x="678287" y="1499364"/>
                    </a:lnTo>
                    <a:lnTo>
                      <a:pt x="297567" y="1499364"/>
                    </a:lnTo>
                    <a:close/>
                    <a:moveTo>
                      <a:pt x="2064913" y="660401"/>
                    </a:moveTo>
                    <a:lnTo>
                      <a:pt x="2445633" y="660401"/>
                    </a:lnTo>
                    <a:lnTo>
                      <a:pt x="2445633" y="1049277"/>
                    </a:lnTo>
                    <a:lnTo>
                      <a:pt x="2064913" y="1049277"/>
                    </a:lnTo>
                    <a:close/>
                    <a:moveTo>
                      <a:pt x="1623077" y="660401"/>
                    </a:moveTo>
                    <a:lnTo>
                      <a:pt x="2003797" y="660401"/>
                    </a:lnTo>
                    <a:lnTo>
                      <a:pt x="2003797" y="1049277"/>
                    </a:lnTo>
                    <a:lnTo>
                      <a:pt x="1623077" y="1049277"/>
                    </a:lnTo>
                    <a:close/>
                    <a:moveTo>
                      <a:pt x="1181240" y="660401"/>
                    </a:moveTo>
                    <a:lnTo>
                      <a:pt x="1561960" y="660401"/>
                    </a:lnTo>
                    <a:lnTo>
                      <a:pt x="1561960" y="1049277"/>
                    </a:lnTo>
                    <a:lnTo>
                      <a:pt x="1181240" y="1049277"/>
                    </a:lnTo>
                    <a:close/>
                    <a:moveTo>
                      <a:pt x="739404" y="660401"/>
                    </a:moveTo>
                    <a:lnTo>
                      <a:pt x="1120124" y="660401"/>
                    </a:lnTo>
                    <a:lnTo>
                      <a:pt x="1120124" y="1049277"/>
                    </a:lnTo>
                    <a:lnTo>
                      <a:pt x="739404" y="1049277"/>
                    </a:lnTo>
                    <a:close/>
                    <a:moveTo>
                      <a:pt x="297567" y="660401"/>
                    </a:moveTo>
                    <a:lnTo>
                      <a:pt x="678287" y="660401"/>
                    </a:lnTo>
                    <a:lnTo>
                      <a:pt x="678287" y="1049277"/>
                    </a:lnTo>
                    <a:lnTo>
                      <a:pt x="297567" y="1049277"/>
                    </a:lnTo>
                    <a:close/>
                    <a:moveTo>
                      <a:pt x="182880" y="533400"/>
                    </a:moveTo>
                    <a:lnTo>
                      <a:pt x="182880" y="2076450"/>
                    </a:lnTo>
                    <a:lnTo>
                      <a:pt x="2560320" y="2076450"/>
                    </a:lnTo>
                    <a:lnTo>
                      <a:pt x="2560320" y="533400"/>
                    </a:lnTo>
                    <a:close/>
                    <a:moveTo>
                      <a:pt x="174623" y="0"/>
                    </a:moveTo>
                    <a:lnTo>
                      <a:pt x="2568577" y="0"/>
                    </a:lnTo>
                    <a:cubicBezTo>
                      <a:pt x="2665019" y="0"/>
                      <a:pt x="2743200" y="78181"/>
                      <a:pt x="2743200" y="174623"/>
                    </a:cubicBezTo>
                    <a:lnTo>
                      <a:pt x="2743200" y="2092327"/>
                    </a:lnTo>
                    <a:cubicBezTo>
                      <a:pt x="2743200" y="2188769"/>
                      <a:pt x="2665019" y="2266950"/>
                      <a:pt x="2568577" y="2266950"/>
                    </a:cubicBezTo>
                    <a:lnTo>
                      <a:pt x="174623" y="2266950"/>
                    </a:lnTo>
                    <a:cubicBezTo>
                      <a:pt x="78181" y="2266950"/>
                      <a:pt x="0" y="2188769"/>
                      <a:pt x="0" y="2092327"/>
                    </a:cubicBezTo>
                    <a:lnTo>
                      <a:pt x="0" y="174623"/>
                    </a:lnTo>
                    <a:cubicBezTo>
                      <a:pt x="0" y="78181"/>
                      <a:pt x="78181" y="0"/>
                      <a:pt x="174623"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25" tIns="89625" rIns="89625" bIns="89625" numCol="1" spcCol="0" rtlCol="0" fromWordArt="0" anchor="b" anchorCtr="0" forceAA="0" compatLnSpc="1">
                <a:prstTxWarp prst="textNoShape">
                  <a:avLst/>
                </a:prstTxWarp>
                <a:noAutofit/>
              </a:bodyPr>
              <a:lstStyle/>
              <a:p>
                <a:pPr algn="r"/>
                <a:endParaRPr lang="en-US" sz="1176" dirty="0">
                  <a:solidFill>
                    <a:srgbClr val="FFFFFF"/>
                  </a:solidFill>
                </a:endParaRPr>
              </a:p>
            </p:txBody>
          </p:sp>
        </p:grpSp>
      </p:grpSp>
      <p:grpSp>
        <p:nvGrpSpPr>
          <p:cNvPr id="7" name="Group 6"/>
          <p:cNvGrpSpPr/>
          <p:nvPr/>
        </p:nvGrpSpPr>
        <p:grpSpPr>
          <a:xfrm>
            <a:off x="3975067" y="5152294"/>
            <a:ext cx="851438" cy="861383"/>
            <a:chOff x="4583855" y="5356901"/>
            <a:chExt cx="930998" cy="734998"/>
          </a:xfrm>
          <a:solidFill>
            <a:srgbClr val="0072C6"/>
          </a:solidFill>
        </p:grpSpPr>
        <p:sp>
          <p:nvSpPr>
            <p:cNvPr id="174" name="Rectangle 173"/>
            <p:cNvSpPr/>
            <p:nvPr/>
          </p:nvSpPr>
          <p:spPr bwMode="auto">
            <a:xfrm>
              <a:off x="4583855" y="5356901"/>
              <a:ext cx="930998" cy="734998"/>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44812" tIns="44812" rIns="44812" bIns="44812" numCol="1" rtlCol="0" anchor="b" anchorCtr="0" compatLnSpc="1">
              <a:prstTxWarp prst="textNoShape">
                <a:avLst/>
              </a:prstTxWarp>
            </a:bodyPr>
            <a:lstStyle/>
            <a:p>
              <a:pPr algn="ctr" defTabSz="913731" fontAlgn="base">
                <a:spcBef>
                  <a:spcPct val="0"/>
                </a:spcBef>
                <a:spcAft>
                  <a:spcPct val="0"/>
                </a:spcAft>
              </a:pPr>
              <a:endParaRPr lang="en-US" sz="1029" dirty="0">
                <a:solidFill>
                  <a:srgbClr val="FFFFFF"/>
                </a:solidFill>
                <a:latin typeface="Segoe UI Light"/>
              </a:endParaRPr>
            </a:p>
          </p:txBody>
        </p:sp>
        <p:grpSp>
          <p:nvGrpSpPr>
            <p:cNvPr id="192" name="Group 191"/>
            <p:cNvGrpSpPr/>
            <p:nvPr/>
          </p:nvGrpSpPr>
          <p:grpSpPr>
            <a:xfrm>
              <a:off x="4583855" y="5356901"/>
              <a:ext cx="930998" cy="734998"/>
              <a:chOff x="8802179" y="5755528"/>
              <a:chExt cx="930998" cy="734998"/>
            </a:xfrm>
            <a:grpFill/>
          </p:grpSpPr>
          <p:sp>
            <p:nvSpPr>
              <p:cNvPr id="193" name="Rectangle 192"/>
              <p:cNvSpPr/>
              <p:nvPr/>
            </p:nvSpPr>
            <p:spPr bwMode="auto">
              <a:xfrm>
                <a:off x="8802179" y="5755528"/>
                <a:ext cx="930998" cy="734998"/>
              </a:xfrm>
              <a:prstGeom prst="rect">
                <a:avLst/>
              </a:prstGeom>
              <a:noFill/>
              <a:ln w="3175">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0" tIns="45703" rIns="0" bIns="45703" numCol="1" rtlCol="0" anchor="b" anchorCtr="0" compatLnSpc="1">
                <a:prstTxWarp prst="textNoShape">
                  <a:avLst/>
                </a:prstTxWarp>
              </a:bodyPr>
              <a:lstStyle/>
              <a:p>
                <a:pPr algn="ctr" defTabSz="913731" fontAlgn="base">
                  <a:spcBef>
                    <a:spcPct val="0"/>
                  </a:spcBef>
                  <a:spcAft>
                    <a:spcPct val="0"/>
                  </a:spcAft>
                </a:pPr>
                <a:r>
                  <a:rPr lang="en-US" sz="783" b="1" dirty="0">
                    <a:solidFill>
                      <a:srgbClr val="FFFFFF"/>
                    </a:solidFill>
                  </a:rPr>
                  <a:t>Backup</a:t>
                </a:r>
              </a:p>
            </p:txBody>
          </p:sp>
          <p:pic>
            <p:nvPicPr>
              <p:cNvPr id="194" name="Picture 193"/>
              <p:cNvPicPr>
                <a:picLocks noChangeAspect="1"/>
              </p:cNvPicPr>
              <p:nvPr/>
            </p:nvPicPr>
            <p:blipFill>
              <a:blip r:embed="rId12" cstate="email">
                <a:extLst>
                  <a:ext uri="{BEBA8EAE-BF5A-486C-A8C5-ECC9F3942E4B}">
                    <a14:imgProps xmlns:a14="http://schemas.microsoft.com/office/drawing/2010/main">
                      <a14:imgLayer r:embed="rId13">
                        <a14:imgEffect>
                          <a14:brightnessContrast bright="100000"/>
                        </a14:imgEffect>
                      </a14:imgLayer>
                    </a14:imgProps>
                  </a:ext>
                  <a:ext uri="{28A0092B-C50C-407E-A947-70E740481C1C}">
                    <a14:useLocalDpi xmlns:a14="http://schemas.microsoft.com/office/drawing/2010/main"/>
                  </a:ext>
                </a:extLst>
              </a:blip>
              <a:stretch>
                <a:fillRect/>
              </a:stretch>
            </p:blipFill>
            <p:spPr>
              <a:xfrm>
                <a:off x="9012808" y="5836972"/>
                <a:ext cx="509740" cy="414801"/>
              </a:xfrm>
              <a:prstGeom prst="rect">
                <a:avLst/>
              </a:prstGeom>
              <a:solidFill>
                <a:schemeClr val="accent5"/>
              </a:solidFill>
              <a:ln>
                <a:noFill/>
              </a:ln>
            </p:spPr>
          </p:pic>
        </p:grpSp>
      </p:grpSp>
      <p:sp>
        <p:nvSpPr>
          <p:cNvPr id="106" name="Rectangle 105"/>
          <p:cNvSpPr/>
          <p:nvPr/>
        </p:nvSpPr>
        <p:spPr bwMode="auto">
          <a:xfrm>
            <a:off x="417752" y="2174747"/>
            <a:ext cx="7035145" cy="137878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91440" bIns="0" numCol="1" spcCol="0" rtlCol="0" fromWordArt="0" anchor="ctr" anchorCtr="0" forceAA="0" compatLnSpc="1">
            <a:prstTxWarp prst="textNoShape">
              <a:avLst/>
            </a:prstTxWarp>
            <a:noAutofit/>
          </a:bodyPr>
          <a:lstStyle/>
          <a:p>
            <a:pPr fontAlgn="t">
              <a:defRPr/>
            </a:pPr>
            <a:endParaRPr lang="en-US" sz="1100" dirty="0">
              <a:solidFill>
                <a:srgbClr val="0072C6"/>
              </a:solidFill>
              <a:latin typeface="Segoe UI Semibold" panose="020B0702040204020203" pitchFamily="34" charset="0"/>
              <a:ea typeface="Segoe UI" pitchFamily="34" charset="0"/>
              <a:cs typeface="Segoe UI Semibold" panose="020B0702040204020203" pitchFamily="34" charset="0"/>
            </a:endParaRPr>
          </a:p>
          <a:p>
            <a:pPr fontAlgn="t">
              <a:defRPr/>
            </a:pPr>
            <a:r>
              <a:rPr lang="en-US" sz="2800" dirty="0" smtClean="0">
                <a:solidFill>
                  <a:srgbClr val="0072C6"/>
                </a:solidFill>
                <a:cs typeface="Segoe UI" panose="020B0502040204020203" pitchFamily="34" charset="0"/>
              </a:rPr>
              <a:t>Azure </a:t>
            </a:r>
            <a:r>
              <a:rPr lang="en-US" sz="2800" dirty="0" smtClean="0">
                <a:solidFill>
                  <a:srgbClr val="0072C6"/>
                </a:solidFill>
                <a:cs typeface="Segoe UI" panose="020B0502040204020203" pitchFamily="34" charset="0"/>
              </a:rPr>
              <a:t>plans</a:t>
            </a:r>
            <a:endParaRPr lang="en-US" sz="2800" dirty="0">
              <a:solidFill>
                <a:srgbClr val="0072C6"/>
              </a:solidFill>
              <a:cs typeface="Segoe UI" panose="020B0502040204020203" pitchFamily="34" charset="0"/>
            </a:endParaRPr>
          </a:p>
          <a:p>
            <a:pPr fontAlgn="t">
              <a:defRPr/>
            </a:pPr>
            <a:r>
              <a:rPr lang="en-US" dirty="0">
                <a:solidFill>
                  <a:srgbClr val="505050"/>
                </a:solidFill>
              </a:rPr>
              <a:t>Annual rights to a specific service or suite of services; payment through annual entitlement only</a:t>
            </a:r>
          </a:p>
          <a:p>
            <a:pPr fontAlgn="t">
              <a:defRPr/>
            </a:pPr>
            <a:endParaRPr lang="en-US" sz="731" dirty="0">
              <a:solidFill>
                <a:srgbClr val="000000"/>
              </a:solidFill>
              <a:latin typeface="Segoe UI Semibold" panose="020B0702040204020203" pitchFamily="34" charset="0"/>
              <a:ea typeface="Segoe UI" pitchFamily="34" charset="0"/>
              <a:cs typeface="Segoe UI" pitchFamily="34" charset="0"/>
            </a:endParaRPr>
          </a:p>
        </p:txBody>
      </p:sp>
      <p:sp>
        <p:nvSpPr>
          <p:cNvPr id="109" name="Rectangle 108"/>
          <p:cNvSpPr/>
          <p:nvPr/>
        </p:nvSpPr>
        <p:spPr bwMode="auto">
          <a:xfrm>
            <a:off x="467418" y="3800625"/>
            <a:ext cx="82745" cy="1141723"/>
          </a:xfrm>
          <a:prstGeom prst="rect">
            <a:avLst/>
          </a:prstGeom>
          <a:solidFill>
            <a:schemeClr val="accent3"/>
          </a:solidFill>
          <a:ln w="28575" cap="flat" cmpd="sng" algn="ctr">
            <a:noFill/>
            <a:prstDash val="dash"/>
            <a:headEnd type="none" w="med" len="med"/>
            <a:tailEnd type="none" w="med" len="med"/>
          </a:ln>
          <a:effectLst/>
        </p:spPr>
        <p:txBody>
          <a:bodyPr rot="0" spcFirstLastPara="0" vertOverflow="overflow" horzOverflow="overflow" vert="horz" wrap="square" lIns="167251" tIns="66901" rIns="41813" bIns="66901" numCol="1" spcCol="0" rtlCol="0" fromWordArt="0" anchor="ctr" anchorCtr="0" forceAA="0" compatLnSpc="1">
            <a:prstTxWarp prst="textNoShape">
              <a:avLst/>
            </a:prstTxWarp>
            <a:noAutofit/>
          </a:bodyPr>
          <a:lstStyle/>
          <a:p>
            <a:pPr algn="ctr" defTabSz="852766" fontAlgn="base">
              <a:lnSpc>
                <a:spcPct val="90000"/>
              </a:lnSpc>
              <a:spcBef>
                <a:spcPct val="0"/>
              </a:spcBef>
              <a:spcAft>
                <a:spcPct val="0"/>
              </a:spcAft>
              <a:defRPr/>
            </a:pPr>
            <a:endParaRPr lang="en-US" sz="100" kern="0" dirty="0">
              <a:solidFill>
                <a:srgbClr val="000000"/>
              </a:solidFill>
              <a:latin typeface="Segoe UI Light" panose="020B0502040204020203" pitchFamily="34" charset="0"/>
              <a:ea typeface="Segoe UI" pitchFamily="34" charset="0"/>
              <a:cs typeface="Segoe UI Light" panose="020B0502040204020203" pitchFamily="34" charset="0"/>
            </a:endParaRPr>
          </a:p>
        </p:txBody>
      </p:sp>
      <p:sp>
        <p:nvSpPr>
          <p:cNvPr id="111" name="Rectangle 110"/>
          <p:cNvSpPr/>
          <p:nvPr/>
        </p:nvSpPr>
        <p:spPr bwMode="auto">
          <a:xfrm>
            <a:off x="467418" y="4999322"/>
            <a:ext cx="82745" cy="1141522"/>
          </a:xfrm>
          <a:prstGeom prst="rect">
            <a:avLst/>
          </a:prstGeom>
          <a:solidFill>
            <a:schemeClr val="accent5"/>
          </a:solidFill>
          <a:ln w="28575" cap="flat" cmpd="sng" algn="ctr">
            <a:noFill/>
            <a:prstDash val="dash"/>
            <a:headEnd type="none" w="med" len="med"/>
            <a:tailEnd type="none" w="med" len="med"/>
          </a:ln>
          <a:effectLst/>
        </p:spPr>
        <p:txBody>
          <a:bodyPr rot="0" spcFirstLastPara="0" vertOverflow="overflow" horzOverflow="overflow" vert="horz" wrap="square" lIns="167251" tIns="66901" rIns="41813" bIns="66901" numCol="1" spcCol="0" rtlCol="0" fromWordArt="0" anchor="ctr" anchorCtr="0" forceAA="0" compatLnSpc="1">
            <a:prstTxWarp prst="textNoShape">
              <a:avLst/>
            </a:prstTxWarp>
            <a:noAutofit/>
          </a:bodyPr>
          <a:lstStyle/>
          <a:p>
            <a:pPr algn="ctr" defTabSz="852766" fontAlgn="base">
              <a:lnSpc>
                <a:spcPct val="90000"/>
              </a:lnSpc>
              <a:spcBef>
                <a:spcPct val="0"/>
              </a:spcBef>
              <a:spcAft>
                <a:spcPct val="0"/>
              </a:spcAft>
              <a:defRPr/>
            </a:pPr>
            <a:endParaRPr lang="en-US" i="1" kern="0" dirty="0">
              <a:solidFill>
                <a:srgbClr val="000000"/>
              </a:solidFill>
              <a:latin typeface="Segoe UI Light" panose="020B0502040204020203" pitchFamily="34" charset="0"/>
              <a:ea typeface="Segoe UI" pitchFamily="34" charset="0"/>
              <a:cs typeface="Segoe UI Light" panose="020B0502040204020203" pitchFamily="34" charset="0"/>
            </a:endParaRPr>
          </a:p>
        </p:txBody>
      </p:sp>
    </p:spTree>
    <p:extLst>
      <p:ext uri="{BB962C8B-B14F-4D97-AF65-F5344CB8AC3E}">
        <p14:creationId xmlns:p14="http://schemas.microsoft.com/office/powerpoint/2010/main" val="4292427632"/>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1246428" y="5717380"/>
            <a:ext cx="9692434" cy="600164"/>
          </a:xfrm>
          <a:prstGeom prst="rect">
            <a:avLst/>
          </a:prstGeom>
        </p:spPr>
        <p:txBody>
          <a:bodyPr wrap="square">
            <a:spAutoFit/>
          </a:bodyPr>
          <a:lstStyle/>
          <a:p>
            <a:pPr defTabSz="932742"/>
            <a:r>
              <a:rPr lang="en-US" sz="1100" dirty="0">
                <a:solidFill>
                  <a:srgbClr val="505050"/>
                </a:solidFill>
                <a:latin typeface="Segoe UI Light" pitchFamily="34" charset="0"/>
              </a:rPr>
              <a:t>Sources:  http://techcrunch.com/2013/04/16/windows-azure-announces-general-availability-and-promises-to-match-any-aws-price-drop/; http://techcrunch.com/2014/01/24/microsoft-azure-drops-storage-prices-to-match-amazons-latest-price-reduction/; http://www.zdnet.com/microsoft-chops-azure-prices-to-match-amazons-latest-reductions-7000027898/ </a:t>
            </a:r>
          </a:p>
        </p:txBody>
      </p:sp>
      <p:sp>
        <p:nvSpPr>
          <p:cNvPr id="11" name="Rectangle 10"/>
          <p:cNvSpPr/>
          <p:nvPr/>
        </p:nvSpPr>
        <p:spPr>
          <a:xfrm>
            <a:off x="417198" y="1049304"/>
            <a:ext cx="9187226" cy="452590"/>
          </a:xfrm>
          <a:prstGeom prst="rect">
            <a:avLst/>
          </a:prstGeom>
        </p:spPr>
        <p:txBody>
          <a:bodyPr wrap="square" lIns="0" rIns="143428">
            <a:spAutoFit/>
          </a:bodyPr>
          <a:lstStyle/>
          <a:p>
            <a:pPr defTabSz="932742"/>
            <a:r>
              <a:rPr lang="en-IN" sz="2353" dirty="0">
                <a:ln w="3175">
                  <a:noFill/>
                </a:ln>
                <a:solidFill>
                  <a:srgbClr val="505050"/>
                </a:solidFill>
                <a:latin typeface="Segoe UI Light"/>
                <a:cs typeface="Segoe UI" pitchFamily="34" charset="0"/>
              </a:rPr>
              <a:t>Extreme pressure on portal list prices</a:t>
            </a:r>
            <a:endParaRPr lang="en-US" sz="2353" dirty="0">
              <a:ln w="3175">
                <a:noFill/>
              </a:ln>
              <a:solidFill>
                <a:srgbClr val="505050"/>
              </a:solidFill>
              <a:latin typeface="Segoe UI Light"/>
              <a:cs typeface="Segoe UI" pitchFamily="34" charset="0"/>
            </a:endParaRPr>
          </a:p>
        </p:txBody>
      </p:sp>
      <p:grpSp>
        <p:nvGrpSpPr>
          <p:cNvPr id="3" name="Group 2"/>
          <p:cNvGrpSpPr/>
          <p:nvPr/>
        </p:nvGrpSpPr>
        <p:grpSpPr>
          <a:xfrm>
            <a:off x="1005903" y="1894539"/>
            <a:ext cx="3294832" cy="3197356"/>
            <a:chOff x="417197" y="2221321"/>
            <a:chExt cx="3294832" cy="3197356"/>
          </a:xfrm>
        </p:grpSpPr>
        <p:sp>
          <p:nvSpPr>
            <p:cNvPr id="12" name="Rectangle 11"/>
            <p:cNvSpPr/>
            <p:nvPr/>
          </p:nvSpPr>
          <p:spPr bwMode="auto">
            <a:xfrm>
              <a:off x="417198" y="5328048"/>
              <a:ext cx="3294831" cy="9062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71714" rIns="89642" bIns="71714" numCol="1" spcCol="0" rtlCol="0" fromWordArt="0" anchor="t" anchorCtr="0" forceAA="0" compatLnSpc="1">
              <a:prstTxWarp prst="textNoShape">
                <a:avLst/>
              </a:prstTxWarp>
              <a:noAutofit/>
            </a:bodyPr>
            <a:lstStyle/>
            <a:p>
              <a:pPr defTabSz="914102" fontAlgn="base"/>
              <a:endParaRPr lang="en-US" sz="1765" dirty="0">
                <a:solidFill>
                  <a:srgbClr val="FFFFFF"/>
                </a:solidFill>
                <a:latin typeface="Segoe UI Semibold" panose="020B0702040204020203" pitchFamily="34" charset="0"/>
                <a:ea typeface="Segoe UI" pitchFamily="34" charset="0"/>
                <a:cs typeface="Segoe UI" pitchFamily="34" charset="0"/>
              </a:endParaRPr>
            </a:p>
          </p:txBody>
        </p:sp>
        <p:sp>
          <p:nvSpPr>
            <p:cNvPr id="13" name="Rectangle 12"/>
            <p:cNvSpPr/>
            <p:nvPr/>
          </p:nvSpPr>
          <p:spPr bwMode="auto">
            <a:xfrm>
              <a:off x="417197" y="2221321"/>
              <a:ext cx="3294831" cy="31067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274320" rIns="91440" bIns="44821" numCol="1" spcCol="0" rtlCol="0" fromWordArt="0" anchor="t" anchorCtr="0" forceAA="0" compatLnSpc="1">
              <a:prstTxWarp prst="textNoShape">
                <a:avLst/>
              </a:prstTxWarp>
              <a:noAutofit/>
            </a:bodyPr>
            <a:lstStyle/>
            <a:p>
              <a:pPr defTabSz="914102" fontAlgn="base">
                <a:spcBef>
                  <a:spcPts val="294"/>
                </a:spcBef>
              </a:pPr>
              <a:r>
                <a:rPr lang="en-US" sz="2800" spc="-108" dirty="0" smtClean="0">
                  <a:solidFill>
                    <a:srgbClr val="505050"/>
                  </a:solidFill>
                  <a:latin typeface="Segoe UI Light"/>
                  <a:ea typeface="Segoe UI Black" panose="020B0A02040204020203" pitchFamily="34" charset="0"/>
                  <a:cs typeface="Segoe UI Black" panose="020B0A02040204020203" pitchFamily="34" charset="0"/>
                </a:rPr>
                <a:t>Azure…Promises </a:t>
              </a:r>
              <a:r>
                <a:rPr lang="en-US" sz="2800" spc="-108" dirty="0">
                  <a:solidFill>
                    <a:srgbClr val="505050"/>
                  </a:solidFill>
                  <a:latin typeface="Segoe UI Light"/>
                  <a:ea typeface="Segoe UI Black" panose="020B0A02040204020203" pitchFamily="34" charset="0"/>
                  <a:cs typeface="Segoe UI Black" panose="020B0A02040204020203" pitchFamily="34" charset="0"/>
                </a:rPr>
                <a:t>to Match Any AWS Price </a:t>
              </a:r>
              <a:r>
                <a:rPr lang="en-US" sz="2800" spc="-108" dirty="0" smtClean="0">
                  <a:solidFill>
                    <a:srgbClr val="505050"/>
                  </a:solidFill>
                  <a:latin typeface="Segoe UI Light"/>
                  <a:ea typeface="Segoe UI Black" panose="020B0A02040204020203" pitchFamily="34" charset="0"/>
                  <a:cs typeface="Segoe UI Black" panose="020B0A02040204020203" pitchFamily="34" charset="0"/>
                </a:rPr>
                <a:t>Drop</a:t>
              </a:r>
            </a:p>
            <a:p>
              <a:pPr defTabSz="914102" fontAlgn="base">
                <a:spcBef>
                  <a:spcPts val="294"/>
                </a:spcBef>
              </a:pPr>
              <a:r>
                <a:rPr lang="en-US" sz="1600" i="1" dirty="0">
                  <a:solidFill>
                    <a:srgbClr val="505050"/>
                  </a:solidFill>
                  <a:latin typeface="Segoe UI Light"/>
                  <a:ea typeface="Segoe UI Black" panose="020B0A02040204020203" pitchFamily="34" charset="0"/>
                  <a:cs typeface="Segoe UI Semilight" panose="020B0402040204020203" pitchFamily="34" charset="0"/>
                </a:rPr>
                <a:t>- April 2013 (TechCrunch)</a:t>
              </a:r>
            </a:p>
            <a:p>
              <a:pPr defTabSz="914102" fontAlgn="base">
                <a:spcBef>
                  <a:spcPts val="294"/>
                </a:spcBef>
              </a:pPr>
              <a:endParaRPr lang="en-IN" sz="2800" dirty="0">
                <a:solidFill>
                  <a:srgbClr val="505050"/>
                </a:solidFill>
                <a:ea typeface="Segoe UI" pitchFamily="34" charset="0"/>
                <a:cs typeface="Segoe UI" pitchFamily="34" charset="0"/>
              </a:endParaRPr>
            </a:p>
          </p:txBody>
        </p:sp>
      </p:grpSp>
      <p:grpSp>
        <p:nvGrpSpPr>
          <p:cNvPr id="15" name="Group 14"/>
          <p:cNvGrpSpPr/>
          <p:nvPr/>
        </p:nvGrpSpPr>
        <p:grpSpPr>
          <a:xfrm>
            <a:off x="4445230" y="1894539"/>
            <a:ext cx="3294831" cy="3197356"/>
            <a:chOff x="417198" y="2221321"/>
            <a:chExt cx="3294831" cy="3197356"/>
          </a:xfrm>
        </p:grpSpPr>
        <p:sp>
          <p:nvSpPr>
            <p:cNvPr id="16" name="Rectangle 15"/>
            <p:cNvSpPr/>
            <p:nvPr/>
          </p:nvSpPr>
          <p:spPr bwMode="auto">
            <a:xfrm>
              <a:off x="417198" y="5328048"/>
              <a:ext cx="3294831" cy="9062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71714" rIns="89642" bIns="71714" numCol="1" spcCol="0" rtlCol="0" fromWordArt="0" anchor="t" anchorCtr="0" forceAA="0" compatLnSpc="1">
              <a:prstTxWarp prst="textNoShape">
                <a:avLst/>
              </a:prstTxWarp>
              <a:noAutofit/>
            </a:bodyPr>
            <a:lstStyle/>
            <a:p>
              <a:pPr defTabSz="914102" fontAlgn="base"/>
              <a:endParaRPr lang="en-US" sz="1765" dirty="0">
                <a:solidFill>
                  <a:srgbClr val="FFFFFF"/>
                </a:solidFill>
                <a:latin typeface="Segoe UI Semibold" panose="020B0702040204020203" pitchFamily="34" charset="0"/>
                <a:ea typeface="Segoe UI" pitchFamily="34" charset="0"/>
                <a:cs typeface="Segoe UI" pitchFamily="34" charset="0"/>
              </a:endParaRPr>
            </a:p>
          </p:txBody>
        </p:sp>
        <p:sp>
          <p:nvSpPr>
            <p:cNvPr id="20" name="Rectangle 19"/>
            <p:cNvSpPr/>
            <p:nvPr/>
          </p:nvSpPr>
          <p:spPr bwMode="auto">
            <a:xfrm>
              <a:off x="417198" y="2221321"/>
              <a:ext cx="3294831" cy="31067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274320" rIns="91440" bIns="44821" numCol="1" spcCol="0" rtlCol="0" fromWordArt="0" anchor="t" anchorCtr="0" forceAA="0" compatLnSpc="1">
              <a:prstTxWarp prst="textNoShape">
                <a:avLst/>
              </a:prstTxWarp>
              <a:noAutofit/>
            </a:bodyPr>
            <a:lstStyle/>
            <a:p>
              <a:pPr defTabSz="914102" fontAlgn="base">
                <a:spcBef>
                  <a:spcPts val="294"/>
                </a:spcBef>
              </a:pPr>
              <a:r>
                <a:rPr lang="en-US" sz="2800" spc="-108" dirty="0" smtClean="0">
                  <a:solidFill>
                    <a:srgbClr val="505050"/>
                  </a:solidFill>
                  <a:latin typeface="Segoe UI Light"/>
                  <a:ea typeface="Segoe UI Black" panose="020B0A02040204020203" pitchFamily="34" charset="0"/>
                  <a:cs typeface="Segoe UI Black" panose="020B0A02040204020203" pitchFamily="34" charset="0"/>
                </a:rPr>
                <a:t>Microsoft </a:t>
              </a:r>
              <a:r>
                <a:rPr lang="en-US" sz="2800" spc="-108" dirty="0">
                  <a:solidFill>
                    <a:srgbClr val="505050"/>
                  </a:solidFill>
                  <a:latin typeface="Segoe UI Light"/>
                  <a:ea typeface="Segoe UI Black" panose="020B0A02040204020203" pitchFamily="34" charset="0"/>
                  <a:cs typeface="Segoe UI Black" panose="020B0A02040204020203" pitchFamily="34" charset="0"/>
                </a:rPr>
                <a:t>Azure Drops Storage Prices To Match Amazon’s Latest Price </a:t>
              </a:r>
              <a:r>
                <a:rPr lang="en-US" sz="2800" spc="-108" dirty="0" smtClean="0">
                  <a:solidFill>
                    <a:srgbClr val="505050"/>
                  </a:solidFill>
                  <a:latin typeface="Segoe UI Light"/>
                  <a:ea typeface="Segoe UI Black" panose="020B0A02040204020203" pitchFamily="34" charset="0"/>
                  <a:cs typeface="Segoe UI Black" panose="020B0A02040204020203" pitchFamily="34" charset="0"/>
                </a:rPr>
                <a:t>Reduction</a:t>
              </a:r>
            </a:p>
            <a:p>
              <a:pPr defTabSz="914102" fontAlgn="base">
                <a:spcBef>
                  <a:spcPts val="294"/>
                </a:spcBef>
              </a:pPr>
              <a:r>
                <a:rPr lang="en-US" sz="1600" i="1" dirty="0">
                  <a:solidFill>
                    <a:srgbClr val="505050"/>
                  </a:solidFill>
                  <a:latin typeface="Segoe UI Light"/>
                  <a:ea typeface="Segoe UI Black" panose="020B0A02040204020203" pitchFamily="34" charset="0"/>
                  <a:cs typeface="Segoe UI Semilight" panose="020B0402040204020203" pitchFamily="34" charset="0"/>
                </a:rPr>
                <a:t>- January 2014 (TechCrunch</a:t>
              </a:r>
              <a:r>
                <a:rPr lang="en-US" sz="1600" i="1" dirty="0" smtClean="0">
                  <a:solidFill>
                    <a:srgbClr val="505050"/>
                  </a:solidFill>
                  <a:latin typeface="Segoe UI Semilight" panose="020B0402040204020203" pitchFamily="34" charset="0"/>
                  <a:ea typeface="Segoe UI Black" panose="020B0A02040204020203" pitchFamily="34" charset="0"/>
                  <a:cs typeface="Segoe UI Semilight" panose="020B0402040204020203" pitchFamily="34" charset="0"/>
                </a:rPr>
                <a:t>)</a:t>
              </a:r>
              <a:endParaRPr lang="en-US" sz="1600" i="1" dirty="0">
                <a:solidFill>
                  <a:srgbClr val="505050"/>
                </a:solidFill>
                <a:latin typeface="Segoe UI Semilight" panose="020B0402040204020203" pitchFamily="34" charset="0"/>
                <a:ea typeface="Segoe UI Black" panose="020B0A02040204020203" pitchFamily="34" charset="0"/>
                <a:cs typeface="Segoe UI Semilight" panose="020B0402040204020203" pitchFamily="34" charset="0"/>
              </a:endParaRPr>
            </a:p>
          </p:txBody>
        </p:sp>
      </p:grpSp>
      <p:grpSp>
        <p:nvGrpSpPr>
          <p:cNvPr id="21" name="Group 20"/>
          <p:cNvGrpSpPr/>
          <p:nvPr/>
        </p:nvGrpSpPr>
        <p:grpSpPr>
          <a:xfrm>
            <a:off x="7884556" y="1894539"/>
            <a:ext cx="3294831" cy="3197356"/>
            <a:chOff x="417198" y="2221321"/>
            <a:chExt cx="3294831" cy="3197356"/>
          </a:xfrm>
        </p:grpSpPr>
        <p:sp>
          <p:nvSpPr>
            <p:cNvPr id="22" name="Rectangle 21"/>
            <p:cNvSpPr/>
            <p:nvPr/>
          </p:nvSpPr>
          <p:spPr bwMode="auto">
            <a:xfrm>
              <a:off x="417198" y="5328048"/>
              <a:ext cx="3294831" cy="9062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89642" tIns="71714" rIns="89642" bIns="71714" numCol="1" spcCol="0" rtlCol="0" fromWordArt="0" anchor="t" anchorCtr="0" forceAA="0" compatLnSpc="1">
              <a:prstTxWarp prst="textNoShape">
                <a:avLst/>
              </a:prstTxWarp>
              <a:noAutofit/>
            </a:bodyPr>
            <a:lstStyle/>
            <a:p>
              <a:pPr defTabSz="914102" fontAlgn="base"/>
              <a:endParaRPr lang="en-US" sz="1765" dirty="0">
                <a:solidFill>
                  <a:srgbClr val="FFFFFF"/>
                </a:solidFill>
                <a:latin typeface="Segoe UI Semibold" panose="020B0702040204020203" pitchFamily="34" charset="0"/>
                <a:ea typeface="Segoe UI" pitchFamily="34" charset="0"/>
                <a:cs typeface="Segoe UI" pitchFamily="34" charset="0"/>
              </a:endParaRPr>
            </a:p>
          </p:txBody>
        </p:sp>
        <p:sp>
          <p:nvSpPr>
            <p:cNvPr id="24" name="Rectangle 23"/>
            <p:cNvSpPr/>
            <p:nvPr/>
          </p:nvSpPr>
          <p:spPr bwMode="auto">
            <a:xfrm>
              <a:off x="417198" y="2221321"/>
              <a:ext cx="3294831" cy="310672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74320" tIns="274320" rIns="89642" bIns="44821" numCol="1" spcCol="0" rtlCol="0" fromWordArt="0" anchor="t" anchorCtr="0" forceAA="0" compatLnSpc="1">
              <a:prstTxWarp prst="textNoShape">
                <a:avLst/>
              </a:prstTxWarp>
              <a:noAutofit/>
            </a:bodyPr>
            <a:lstStyle/>
            <a:p>
              <a:pPr defTabSz="914102" fontAlgn="base">
                <a:spcBef>
                  <a:spcPts val="294"/>
                </a:spcBef>
              </a:pPr>
              <a:r>
                <a:rPr lang="en-US" sz="2800" spc="-108" dirty="0">
                  <a:solidFill>
                    <a:srgbClr val="505050"/>
                  </a:solidFill>
                  <a:latin typeface="Segoe UI Light"/>
                  <a:ea typeface="Segoe UI Black" panose="020B0A02040204020203" pitchFamily="34" charset="0"/>
                  <a:cs typeface="Segoe UI Black" panose="020B0A02040204020203" pitchFamily="34" charset="0"/>
                </a:rPr>
                <a:t>Microsoft chops Azure prices to match Amazon’s latest </a:t>
              </a:r>
              <a:r>
                <a:rPr lang="en-US" sz="2800" spc="-108" dirty="0" smtClean="0">
                  <a:solidFill>
                    <a:srgbClr val="505050"/>
                  </a:solidFill>
                  <a:latin typeface="Segoe UI Light"/>
                  <a:ea typeface="Segoe UI Black" panose="020B0A02040204020203" pitchFamily="34" charset="0"/>
                  <a:cs typeface="Segoe UI Black" panose="020B0A02040204020203" pitchFamily="34" charset="0"/>
                </a:rPr>
                <a:t>reductions</a:t>
              </a:r>
            </a:p>
            <a:p>
              <a:pPr defTabSz="914102" fontAlgn="base">
                <a:spcBef>
                  <a:spcPts val="294"/>
                </a:spcBef>
              </a:pPr>
              <a:r>
                <a:rPr lang="en-US" sz="1600" i="1" dirty="0">
                  <a:solidFill>
                    <a:srgbClr val="505050"/>
                  </a:solidFill>
                  <a:latin typeface="Segoe UI Light"/>
                  <a:ea typeface="Segoe UI Black" panose="020B0A02040204020203" pitchFamily="34" charset="0"/>
                  <a:cs typeface="Segoe UI Semilight" panose="020B0402040204020203" pitchFamily="34" charset="0"/>
                </a:rPr>
                <a:t>- March 2014 (ZDNet)  </a:t>
              </a:r>
            </a:p>
          </p:txBody>
        </p:sp>
      </p:grpSp>
      <p:sp>
        <p:nvSpPr>
          <p:cNvPr id="26" name="Block Arc 28"/>
          <p:cNvSpPr/>
          <p:nvPr/>
        </p:nvSpPr>
        <p:spPr bwMode="auto">
          <a:xfrm rot="16998957">
            <a:off x="1042087" y="2121145"/>
            <a:ext cx="238724" cy="213625"/>
          </a:xfrm>
          <a:custGeom>
            <a:avLst/>
            <a:gdLst/>
            <a:ahLst/>
            <a:cxnLst/>
            <a:rect l="l" t="t" r="r" b="b"/>
            <a:pathLst>
              <a:path w="2071359" h="1853581">
                <a:moveTo>
                  <a:pt x="1800238" y="406230"/>
                </a:moveTo>
                <a:cubicBezTo>
                  <a:pt x="1809261" y="431222"/>
                  <a:pt x="1815832" y="456787"/>
                  <a:pt x="1819799" y="482769"/>
                </a:cubicBezTo>
                <a:cubicBezTo>
                  <a:pt x="1819832" y="483744"/>
                  <a:pt x="1819868" y="484719"/>
                  <a:pt x="1819901" y="485694"/>
                </a:cubicBezTo>
                <a:lnTo>
                  <a:pt x="1535562" y="561882"/>
                </a:lnTo>
                <a:cubicBezTo>
                  <a:pt x="1395366" y="99813"/>
                  <a:pt x="841287" y="282030"/>
                  <a:pt x="721121" y="361446"/>
                </a:cubicBezTo>
                <a:lnTo>
                  <a:pt x="823345" y="742950"/>
                </a:lnTo>
                <a:lnTo>
                  <a:pt x="180737" y="915136"/>
                </a:lnTo>
                <a:lnTo>
                  <a:pt x="0" y="240624"/>
                </a:lnTo>
                <a:lnTo>
                  <a:pt x="572417" y="87245"/>
                </a:lnTo>
                <a:cubicBezTo>
                  <a:pt x="801072" y="30063"/>
                  <a:pt x="1096589" y="-33137"/>
                  <a:pt x="1301226" y="20027"/>
                </a:cubicBezTo>
                <a:cubicBezTo>
                  <a:pt x="1553702" y="84493"/>
                  <a:pt x="1737078" y="231291"/>
                  <a:pt x="1800238" y="406230"/>
                </a:cubicBezTo>
                <a:close/>
                <a:moveTo>
                  <a:pt x="2051695" y="1344675"/>
                </a:moveTo>
                <a:cubicBezTo>
                  <a:pt x="2060719" y="1369667"/>
                  <a:pt x="2067289" y="1395231"/>
                  <a:pt x="2071256" y="1421214"/>
                </a:cubicBezTo>
                <a:cubicBezTo>
                  <a:pt x="2071290" y="1422189"/>
                  <a:pt x="2071325" y="1423164"/>
                  <a:pt x="2071359" y="1424139"/>
                </a:cubicBezTo>
                <a:lnTo>
                  <a:pt x="1787019" y="1500327"/>
                </a:lnTo>
                <a:cubicBezTo>
                  <a:pt x="1646823" y="1038258"/>
                  <a:pt x="1092745" y="1220475"/>
                  <a:pt x="972579" y="1299891"/>
                </a:cubicBezTo>
                <a:lnTo>
                  <a:pt x="1074803" y="1681394"/>
                </a:lnTo>
                <a:lnTo>
                  <a:pt x="432194" y="1853581"/>
                </a:lnTo>
                <a:lnTo>
                  <a:pt x="251458" y="1179069"/>
                </a:lnTo>
                <a:lnTo>
                  <a:pt x="823874" y="1025690"/>
                </a:lnTo>
                <a:cubicBezTo>
                  <a:pt x="1052530" y="968507"/>
                  <a:pt x="1348047" y="905307"/>
                  <a:pt x="1552683" y="958471"/>
                </a:cubicBezTo>
                <a:cubicBezTo>
                  <a:pt x="1805159" y="1022937"/>
                  <a:pt x="1988535" y="1169736"/>
                  <a:pt x="2051695" y="134467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8" name="Block Arc 28"/>
          <p:cNvSpPr/>
          <p:nvPr/>
        </p:nvSpPr>
        <p:spPr bwMode="auto">
          <a:xfrm rot="15300000" flipV="1">
            <a:off x="2729458" y="3057667"/>
            <a:ext cx="238724" cy="191883"/>
          </a:xfrm>
          <a:custGeom>
            <a:avLst/>
            <a:gdLst/>
            <a:ahLst/>
            <a:cxnLst/>
            <a:rect l="l" t="t" r="r" b="b"/>
            <a:pathLst>
              <a:path w="2071359" h="1853581">
                <a:moveTo>
                  <a:pt x="1800238" y="406230"/>
                </a:moveTo>
                <a:cubicBezTo>
                  <a:pt x="1809261" y="431222"/>
                  <a:pt x="1815832" y="456787"/>
                  <a:pt x="1819799" y="482769"/>
                </a:cubicBezTo>
                <a:cubicBezTo>
                  <a:pt x="1819832" y="483744"/>
                  <a:pt x="1819868" y="484719"/>
                  <a:pt x="1819901" y="485694"/>
                </a:cubicBezTo>
                <a:lnTo>
                  <a:pt x="1535562" y="561882"/>
                </a:lnTo>
                <a:cubicBezTo>
                  <a:pt x="1395366" y="99813"/>
                  <a:pt x="841287" y="282030"/>
                  <a:pt x="721121" y="361446"/>
                </a:cubicBezTo>
                <a:lnTo>
                  <a:pt x="823345" y="742950"/>
                </a:lnTo>
                <a:lnTo>
                  <a:pt x="180737" y="915136"/>
                </a:lnTo>
                <a:lnTo>
                  <a:pt x="0" y="240624"/>
                </a:lnTo>
                <a:lnTo>
                  <a:pt x="572417" y="87245"/>
                </a:lnTo>
                <a:cubicBezTo>
                  <a:pt x="801072" y="30063"/>
                  <a:pt x="1096589" y="-33137"/>
                  <a:pt x="1301226" y="20027"/>
                </a:cubicBezTo>
                <a:cubicBezTo>
                  <a:pt x="1553702" y="84493"/>
                  <a:pt x="1737078" y="231291"/>
                  <a:pt x="1800238" y="406230"/>
                </a:cubicBezTo>
                <a:close/>
                <a:moveTo>
                  <a:pt x="2051695" y="1344675"/>
                </a:moveTo>
                <a:cubicBezTo>
                  <a:pt x="2060719" y="1369667"/>
                  <a:pt x="2067289" y="1395231"/>
                  <a:pt x="2071256" y="1421214"/>
                </a:cubicBezTo>
                <a:cubicBezTo>
                  <a:pt x="2071290" y="1422189"/>
                  <a:pt x="2071325" y="1423164"/>
                  <a:pt x="2071359" y="1424139"/>
                </a:cubicBezTo>
                <a:lnTo>
                  <a:pt x="1787019" y="1500327"/>
                </a:lnTo>
                <a:cubicBezTo>
                  <a:pt x="1646823" y="1038258"/>
                  <a:pt x="1092745" y="1220475"/>
                  <a:pt x="972579" y="1299891"/>
                </a:cubicBezTo>
                <a:lnTo>
                  <a:pt x="1074803" y="1681394"/>
                </a:lnTo>
                <a:lnTo>
                  <a:pt x="432194" y="1853581"/>
                </a:lnTo>
                <a:lnTo>
                  <a:pt x="251458" y="1179069"/>
                </a:lnTo>
                <a:lnTo>
                  <a:pt x="823874" y="1025690"/>
                </a:lnTo>
                <a:cubicBezTo>
                  <a:pt x="1052530" y="968507"/>
                  <a:pt x="1348047" y="905307"/>
                  <a:pt x="1552683" y="958471"/>
                </a:cubicBezTo>
                <a:cubicBezTo>
                  <a:pt x="1805159" y="1022937"/>
                  <a:pt x="1988535" y="1169736"/>
                  <a:pt x="2051695" y="1344675"/>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0" name="Block Arc 28"/>
          <p:cNvSpPr/>
          <p:nvPr/>
        </p:nvSpPr>
        <p:spPr bwMode="auto">
          <a:xfrm rot="16998957">
            <a:off x="4479073" y="2121145"/>
            <a:ext cx="238724" cy="213625"/>
          </a:xfrm>
          <a:custGeom>
            <a:avLst/>
            <a:gdLst/>
            <a:ahLst/>
            <a:cxnLst/>
            <a:rect l="l" t="t" r="r" b="b"/>
            <a:pathLst>
              <a:path w="2071359" h="1853581">
                <a:moveTo>
                  <a:pt x="1800238" y="406230"/>
                </a:moveTo>
                <a:cubicBezTo>
                  <a:pt x="1809261" y="431222"/>
                  <a:pt x="1815832" y="456787"/>
                  <a:pt x="1819799" y="482769"/>
                </a:cubicBezTo>
                <a:cubicBezTo>
                  <a:pt x="1819832" y="483744"/>
                  <a:pt x="1819868" y="484719"/>
                  <a:pt x="1819901" y="485694"/>
                </a:cubicBezTo>
                <a:lnTo>
                  <a:pt x="1535562" y="561882"/>
                </a:lnTo>
                <a:cubicBezTo>
                  <a:pt x="1395366" y="99813"/>
                  <a:pt x="841287" y="282030"/>
                  <a:pt x="721121" y="361446"/>
                </a:cubicBezTo>
                <a:lnTo>
                  <a:pt x="823345" y="742950"/>
                </a:lnTo>
                <a:lnTo>
                  <a:pt x="180737" y="915136"/>
                </a:lnTo>
                <a:lnTo>
                  <a:pt x="0" y="240624"/>
                </a:lnTo>
                <a:lnTo>
                  <a:pt x="572417" y="87245"/>
                </a:lnTo>
                <a:cubicBezTo>
                  <a:pt x="801072" y="30063"/>
                  <a:pt x="1096589" y="-33137"/>
                  <a:pt x="1301226" y="20027"/>
                </a:cubicBezTo>
                <a:cubicBezTo>
                  <a:pt x="1553702" y="84493"/>
                  <a:pt x="1737078" y="231291"/>
                  <a:pt x="1800238" y="406230"/>
                </a:cubicBezTo>
                <a:close/>
                <a:moveTo>
                  <a:pt x="2051695" y="1344675"/>
                </a:moveTo>
                <a:cubicBezTo>
                  <a:pt x="2060719" y="1369667"/>
                  <a:pt x="2067289" y="1395231"/>
                  <a:pt x="2071256" y="1421214"/>
                </a:cubicBezTo>
                <a:cubicBezTo>
                  <a:pt x="2071290" y="1422189"/>
                  <a:pt x="2071325" y="1423164"/>
                  <a:pt x="2071359" y="1424139"/>
                </a:cubicBezTo>
                <a:lnTo>
                  <a:pt x="1787019" y="1500327"/>
                </a:lnTo>
                <a:cubicBezTo>
                  <a:pt x="1646823" y="1038258"/>
                  <a:pt x="1092745" y="1220475"/>
                  <a:pt x="972579" y="1299891"/>
                </a:cubicBezTo>
                <a:lnTo>
                  <a:pt x="1074803" y="1681394"/>
                </a:lnTo>
                <a:lnTo>
                  <a:pt x="432194" y="1853581"/>
                </a:lnTo>
                <a:lnTo>
                  <a:pt x="251458" y="1179069"/>
                </a:lnTo>
                <a:lnTo>
                  <a:pt x="823874" y="1025690"/>
                </a:lnTo>
                <a:cubicBezTo>
                  <a:pt x="1052530" y="968507"/>
                  <a:pt x="1348047" y="905307"/>
                  <a:pt x="1552683" y="958471"/>
                </a:cubicBezTo>
                <a:cubicBezTo>
                  <a:pt x="1805159" y="1022937"/>
                  <a:pt x="1988535" y="1169736"/>
                  <a:pt x="2051695" y="1344675"/>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1" name="Block Arc 28"/>
          <p:cNvSpPr/>
          <p:nvPr/>
        </p:nvSpPr>
        <p:spPr bwMode="auto">
          <a:xfrm rot="15300000" flipV="1">
            <a:off x="6082727" y="3936640"/>
            <a:ext cx="238724" cy="191883"/>
          </a:xfrm>
          <a:custGeom>
            <a:avLst/>
            <a:gdLst/>
            <a:ahLst/>
            <a:cxnLst/>
            <a:rect l="l" t="t" r="r" b="b"/>
            <a:pathLst>
              <a:path w="2071359" h="1853581">
                <a:moveTo>
                  <a:pt x="1800238" y="406230"/>
                </a:moveTo>
                <a:cubicBezTo>
                  <a:pt x="1809261" y="431222"/>
                  <a:pt x="1815832" y="456787"/>
                  <a:pt x="1819799" y="482769"/>
                </a:cubicBezTo>
                <a:cubicBezTo>
                  <a:pt x="1819832" y="483744"/>
                  <a:pt x="1819868" y="484719"/>
                  <a:pt x="1819901" y="485694"/>
                </a:cubicBezTo>
                <a:lnTo>
                  <a:pt x="1535562" y="561882"/>
                </a:lnTo>
                <a:cubicBezTo>
                  <a:pt x="1395366" y="99813"/>
                  <a:pt x="841287" y="282030"/>
                  <a:pt x="721121" y="361446"/>
                </a:cubicBezTo>
                <a:lnTo>
                  <a:pt x="823345" y="742950"/>
                </a:lnTo>
                <a:lnTo>
                  <a:pt x="180737" y="915136"/>
                </a:lnTo>
                <a:lnTo>
                  <a:pt x="0" y="240624"/>
                </a:lnTo>
                <a:lnTo>
                  <a:pt x="572417" y="87245"/>
                </a:lnTo>
                <a:cubicBezTo>
                  <a:pt x="801072" y="30063"/>
                  <a:pt x="1096589" y="-33137"/>
                  <a:pt x="1301226" y="20027"/>
                </a:cubicBezTo>
                <a:cubicBezTo>
                  <a:pt x="1553702" y="84493"/>
                  <a:pt x="1737078" y="231291"/>
                  <a:pt x="1800238" y="406230"/>
                </a:cubicBezTo>
                <a:close/>
                <a:moveTo>
                  <a:pt x="2051695" y="1344675"/>
                </a:moveTo>
                <a:cubicBezTo>
                  <a:pt x="2060719" y="1369667"/>
                  <a:pt x="2067289" y="1395231"/>
                  <a:pt x="2071256" y="1421214"/>
                </a:cubicBezTo>
                <a:cubicBezTo>
                  <a:pt x="2071290" y="1422189"/>
                  <a:pt x="2071325" y="1423164"/>
                  <a:pt x="2071359" y="1424139"/>
                </a:cubicBezTo>
                <a:lnTo>
                  <a:pt x="1787019" y="1500327"/>
                </a:lnTo>
                <a:cubicBezTo>
                  <a:pt x="1646823" y="1038258"/>
                  <a:pt x="1092745" y="1220475"/>
                  <a:pt x="972579" y="1299891"/>
                </a:cubicBezTo>
                <a:lnTo>
                  <a:pt x="1074803" y="1681394"/>
                </a:lnTo>
                <a:lnTo>
                  <a:pt x="432194" y="1853581"/>
                </a:lnTo>
                <a:lnTo>
                  <a:pt x="251458" y="1179069"/>
                </a:lnTo>
                <a:lnTo>
                  <a:pt x="823874" y="1025690"/>
                </a:lnTo>
                <a:cubicBezTo>
                  <a:pt x="1052530" y="968507"/>
                  <a:pt x="1348047" y="905307"/>
                  <a:pt x="1552683" y="958471"/>
                </a:cubicBezTo>
                <a:cubicBezTo>
                  <a:pt x="1805159" y="1022937"/>
                  <a:pt x="1988535" y="1169736"/>
                  <a:pt x="2051695" y="1344675"/>
                </a:cubicBez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2" name="Block Arc 28"/>
          <p:cNvSpPr/>
          <p:nvPr/>
        </p:nvSpPr>
        <p:spPr bwMode="auto">
          <a:xfrm rot="16998957">
            <a:off x="7929285" y="2121145"/>
            <a:ext cx="238724" cy="213625"/>
          </a:xfrm>
          <a:custGeom>
            <a:avLst/>
            <a:gdLst/>
            <a:ahLst/>
            <a:cxnLst/>
            <a:rect l="l" t="t" r="r" b="b"/>
            <a:pathLst>
              <a:path w="2071359" h="1853581">
                <a:moveTo>
                  <a:pt x="1800238" y="406230"/>
                </a:moveTo>
                <a:cubicBezTo>
                  <a:pt x="1809261" y="431222"/>
                  <a:pt x="1815832" y="456787"/>
                  <a:pt x="1819799" y="482769"/>
                </a:cubicBezTo>
                <a:cubicBezTo>
                  <a:pt x="1819832" y="483744"/>
                  <a:pt x="1819868" y="484719"/>
                  <a:pt x="1819901" y="485694"/>
                </a:cubicBezTo>
                <a:lnTo>
                  <a:pt x="1535562" y="561882"/>
                </a:lnTo>
                <a:cubicBezTo>
                  <a:pt x="1395366" y="99813"/>
                  <a:pt x="841287" y="282030"/>
                  <a:pt x="721121" y="361446"/>
                </a:cubicBezTo>
                <a:lnTo>
                  <a:pt x="823345" y="742950"/>
                </a:lnTo>
                <a:lnTo>
                  <a:pt x="180737" y="915136"/>
                </a:lnTo>
                <a:lnTo>
                  <a:pt x="0" y="240624"/>
                </a:lnTo>
                <a:lnTo>
                  <a:pt x="572417" y="87245"/>
                </a:lnTo>
                <a:cubicBezTo>
                  <a:pt x="801072" y="30063"/>
                  <a:pt x="1096589" y="-33137"/>
                  <a:pt x="1301226" y="20027"/>
                </a:cubicBezTo>
                <a:cubicBezTo>
                  <a:pt x="1553702" y="84493"/>
                  <a:pt x="1737078" y="231291"/>
                  <a:pt x="1800238" y="406230"/>
                </a:cubicBezTo>
                <a:close/>
                <a:moveTo>
                  <a:pt x="2051695" y="1344675"/>
                </a:moveTo>
                <a:cubicBezTo>
                  <a:pt x="2060719" y="1369667"/>
                  <a:pt x="2067289" y="1395231"/>
                  <a:pt x="2071256" y="1421214"/>
                </a:cubicBezTo>
                <a:cubicBezTo>
                  <a:pt x="2071290" y="1422189"/>
                  <a:pt x="2071325" y="1423164"/>
                  <a:pt x="2071359" y="1424139"/>
                </a:cubicBezTo>
                <a:lnTo>
                  <a:pt x="1787019" y="1500327"/>
                </a:lnTo>
                <a:cubicBezTo>
                  <a:pt x="1646823" y="1038258"/>
                  <a:pt x="1092745" y="1220475"/>
                  <a:pt x="972579" y="1299891"/>
                </a:cubicBezTo>
                <a:lnTo>
                  <a:pt x="1074803" y="1681394"/>
                </a:lnTo>
                <a:lnTo>
                  <a:pt x="432194" y="1853581"/>
                </a:lnTo>
                <a:lnTo>
                  <a:pt x="251458" y="1179069"/>
                </a:lnTo>
                <a:lnTo>
                  <a:pt x="823874" y="1025690"/>
                </a:lnTo>
                <a:cubicBezTo>
                  <a:pt x="1052530" y="968507"/>
                  <a:pt x="1348047" y="905307"/>
                  <a:pt x="1552683" y="958471"/>
                </a:cubicBezTo>
                <a:cubicBezTo>
                  <a:pt x="1805159" y="1022937"/>
                  <a:pt x="1988535" y="1169736"/>
                  <a:pt x="2051695" y="1344675"/>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33" name="Block Arc 28"/>
          <p:cNvSpPr/>
          <p:nvPr/>
        </p:nvSpPr>
        <p:spPr bwMode="auto">
          <a:xfrm rot="15300000" flipV="1">
            <a:off x="10349926" y="3535587"/>
            <a:ext cx="238724" cy="191883"/>
          </a:xfrm>
          <a:custGeom>
            <a:avLst/>
            <a:gdLst/>
            <a:ahLst/>
            <a:cxnLst/>
            <a:rect l="l" t="t" r="r" b="b"/>
            <a:pathLst>
              <a:path w="2071359" h="1853581">
                <a:moveTo>
                  <a:pt x="1800238" y="406230"/>
                </a:moveTo>
                <a:cubicBezTo>
                  <a:pt x="1809261" y="431222"/>
                  <a:pt x="1815832" y="456787"/>
                  <a:pt x="1819799" y="482769"/>
                </a:cubicBezTo>
                <a:cubicBezTo>
                  <a:pt x="1819832" y="483744"/>
                  <a:pt x="1819868" y="484719"/>
                  <a:pt x="1819901" y="485694"/>
                </a:cubicBezTo>
                <a:lnTo>
                  <a:pt x="1535562" y="561882"/>
                </a:lnTo>
                <a:cubicBezTo>
                  <a:pt x="1395366" y="99813"/>
                  <a:pt x="841287" y="282030"/>
                  <a:pt x="721121" y="361446"/>
                </a:cubicBezTo>
                <a:lnTo>
                  <a:pt x="823345" y="742950"/>
                </a:lnTo>
                <a:lnTo>
                  <a:pt x="180737" y="915136"/>
                </a:lnTo>
                <a:lnTo>
                  <a:pt x="0" y="240624"/>
                </a:lnTo>
                <a:lnTo>
                  <a:pt x="572417" y="87245"/>
                </a:lnTo>
                <a:cubicBezTo>
                  <a:pt x="801072" y="30063"/>
                  <a:pt x="1096589" y="-33137"/>
                  <a:pt x="1301226" y="20027"/>
                </a:cubicBezTo>
                <a:cubicBezTo>
                  <a:pt x="1553702" y="84493"/>
                  <a:pt x="1737078" y="231291"/>
                  <a:pt x="1800238" y="406230"/>
                </a:cubicBezTo>
                <a:close/>
                <a:moveTo>
                  <a:pt x="2051695" y="1344675"/>
                </a:moveTo>
                <a:cubicBezTo>
                  <a:pt x="2060719" y="1369667"/>
                  <a:pt x="2067289" y="1395231"/>
                  <a:pt x="2071256" y="1421214"/>
                </a:cubicBezTo>
                <a:cubicBezTo>
                  <a:pt x="2071290" y="1422189"/>
                  <a:pt x="2071325" y="1423164"/>
                  <a:pt x="2071359" y="1424139"/>
                </a:cubicBezTo>
                <a:lnTo>
                  <a:pt x="1787019" y="1500327"/>
                </a:lnTo>
                <a:cubicBezTo>
                  <a:pt x="1646823" y="1038258"/>
                  <a:pt x="1092745" y="1220475"/>
                  <a:pt x="972579" y="1299891"/>
                </a:cubicBezTo>
                <a:lnTo>
                  <a:pt x="1074803" y="1681394"/>
                </a:lnTo>
                <a:lnTo>
                  <a:pt x="432194" y="1853581"/>
                </a:lnTo>
                <a:lnTo>
                  <a:pt x="251458" y="1179069"/>
                </a:lnTo>
                <a:lnTo>
                  <a:pt x="823874" y="1025690"/>
                </a:lnTo>
                <a:cubicBezTo>
                  <a:pt x="1052530" y="968507"/>
                  <a:pt x="1348047" y="905307"/>
                  <a:pt x="1552683" y="958471"/>
                </a:cubicBezTo>
                <a:cubicBezTo>
                  <a:pt x="1805159" y="1022937"/>
                  <a:pt x="1988535" y="1169736"/>
                  <a:pt x="2051695" y="1344675"/>
                </a:cubicBezTo>
                <a:close/>
              </a:path>
            </a:pathLst>
          </a:cu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Title 3"/>
          <p:cNvSpPr>
            <a:spLocks noGrp="1"/>
          </p:cNvSpPr>
          <p:nvPr>
            <p:ph type="title"/>
          </p:nvPr>
        </p:nvSpPr>
        <p:spPr/>
        <p:txBody>
          <a:bodyPr/>
          <a:lstStyle/>
          <a:p>
            <a:r>
              <a:rPr lang="en-US" sz="4400" dirty="0"/>
              <a:t>In the news: </a:t>
            </a:r>
            <a:r>
              <a:rPr lang="en-US" sz="4400" dirty="0" smtClean="0"/>
              <a:t>cloud </a:t>
            </a:r>
            <a:r>
              <a:rPr lang="en-US" sz="4400" dirty="0"/>
              <a:t>pricing </a:t>
            </a:r>
            <a:r>
              <a:rPr lang="en-US" sz="4400" dirty="0" smtClean="0"/>
              <a:t>today</a:t>
            </a:r>
            <a:endParaRPr lang="en-US" dirty="0"/>
          </a:p>
        </p:txBody>
      </p:sp>
    </p:spTree>
    <p:extLst>
      <p:ext uri="{BB962C8B-B14F-4D97-AF65-F5344CB8AC3E}">
        <p14:creationId xmlns:p14="http://schemas.microsoft.com/office/powerpoint/2010/main" val="2220440012"/>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bwMode="auto">
          <a:xfrm>
            <a:off x="6090134" y="2056601"/>
            <a:ext cx="2844546" cy="2633036"/>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34464"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176" dirty="0">
              <a:solidFill>
                <a:srgbClr val="000000"/>
              </a:solidFill>
              <a:latin typeface="Segoe UI Light"/>
              <a:ea typeface="Segoe UI Black" panose="020B0A02040204020203" pitchFamily="34" charset="0"/>
              <a:cs typeface="Segoe UI Semilight" panose="020B0402040204020203" pitchFamily="34" charset="0"/>
            </a:endParaRPr>
          </a:p>
          <a:p>
            <a:pPr algn="ctr" defTabSz="914102" fontAlgn="base">
              <a:spcBef>
                <a:spcPct val="0"/>
              </a:spcBef>
              <a:spcAft>
                <a:spcPct val="0"/>
              </a:spcAft>
            </a:pPr>
            <a:r>
              <a:rPr lang="en-US" sz="1568" dirty="0">
                <a:solidFill>
                  <a:srgbClr val="505050"/>
                </a:solidFill>
                <a:latin typeface="Segoe UI Semibold" panose="020B0702040204020203" pitchFamily="34" charset="0"/>
                <a:ea typeface="Segoe UI Black" panose="020B0A02040204020203" pitchFamily="34" charset="0"/>
                <a:cs typeface="Segoe UI Semibold" panose="020B0702040204020203" pitchFamily="34" charset="0"/>
              </a:rPr>
              <a:t>AS ANNOUNCED</a:t>
            </a:r>
          </a:p>
          <a:p>
            <a:pPr algn="ctr" defTabSz="914102" fontAlgn="base">
              <a:lnSpc>
                <a:spcPts val="5000"/>
              </a:lnSpc>
              <a:spcBef>
                <a:spcPct val="0"/>
              </a:spcBef>
              <a:spcAft>
                <a:spcPct val="0"/>
              </a:spcAft>
            </a:pPr>
            <a:r>
              <a:rPr lang="en-US" sz="3600" dirty="0">
                <a:solidFill>
                  <a:srgbClr val="505050"/>
                </a:solidFill>
                <a:latin typeface="Segoe UI Light"/>
                <a:ea typeface="Segoe UI Black" panose="020B0A02040204020203" pitchFamily="34" charset="0"/>
                <a:cs typeface="Segoe UI Semilight" panose="020B0402040204020203" pitchFamily="34" charset="0"/>
              </a:rPr>
              <a:t>Storage</a:t>
            </a:r>
          </a:p>
          <a:p>
            <a:pPr algn="ctr" defTabSz="914102" fontAlgn="base">
              <a:lnSpc>
                <a:spcPts val="3333"/>
              </a:lnSpc>
              <a:spcBef>
                <a:spcPct val="0"/>
              </a:spcBef>
              <a:spcAft>
                <a:spcPct val="0"/>
              </a:spcAft>
            </a:pPr>
            <a:r>
              <a:rPr lang="en-US" sz="1765" i="1" dirty="0">
                <a:solidFill>
                  <a:srgbClr val="D2D2D2">
                    <a:lumMod val="50000"/>
                  </a:srgbClr>
                </a:solidFill>
                <a:latin typeface="Segoe UI Semilight" panose="020B0402040204020203" pitchFamily="34" charset="0"/>
                <a:cs typeface="Segoe UI Semilight" panose="020B0402040204020203" pitchFamily="34" charset="0"/>
              </a:rPr>
              <a:t>Already in market</a:t>
            </a:r>
          </a:p>
        </p:txBody>
      </p:sp>
      <p:sp>
        <p:nvSpPr>
          <p:cNvPr id="28" name="Rectangle 27"/>
          <p:cNvSpPr/>
          <p:nvPr/>
        </p:nvSpPr>
        <p:spPr bwMode="auto">
          <a:xfrm>
            <a:off x="6090134" y="4669971"/>
            <a:ext cx="2844546" cy="160020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268927"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3529" dirty="0">
                <a:gradFill>
                  <a:gsLst>
                    <a:gs pos="0">
                      <a:srgbClr val="FFFFFF"/>
                    </a:gs>
                    <a:gs pos="100000">
                      <a:srgbClr val="FFFFFF"/>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rPr>
              <a:t>Lowest listed</a:t>
            </a:r>
          </a:p>
          <a:p>
            <a:pPr algn="ctr" defTabSz="914102" fontAlgn="base">
              <a:spcBef>
                <a:spcPct val="0"/>
              </a:spcBef>
              <a:spcAft>
                <a:spcPct val="0"/>
              </a:spcAft>
            </a:pPr>
            <a:r>
              <a:rPr lang="en-US" sz="1765" i="1" dirty="0">
                <a:gradFill>
                  <a:gsLst>
                    <a:gs pos="0">
                      <a:srgbClr val="FFFFFF"/>
                    </a:gs>
                    <a:gs pos="100000">
                      <a:srgbClr val="FFFFFF"/>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rPr>
              <a:t>tier pricing on MicrosoftAzure.com</a:t>
            </a:r>
          </a:p>
        </p:txBody>
      </p:sp>
      <p:sp>
        <p:nvSpPr>
          <p:cNvPr id="25" name="Rectangle 24"/>
          <p:cNvSpPr/>
          <p:nvPr/>
        </p:nvSpPr>
        <p:spPr bwMode="auto">
          <a:xfrm>
            <a:off x="9066965" y="2036934"/>
            <a:ext cx="2844546" cy="2633038"/>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34464"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176" dirty="0">
              <a:solidFill>
                <a:srgbClr val="000000"/>
              </a:solidFill>
              <a:latin typeface="Segoe UI Light"/>
              <a:ea typeface="Segoe UI Black" panose="020B0A02040204020203" pitchFamily="34" charset="0"/>
              <a:cs typeface="Segoe UI Semilight" panose="020B0402040204020203" pitchFamily="34" charset="0"/>
            </a:endParaRPr>
          </a:p>
          <a:p>
            <a:pPr algn="ctr" defTabSz="914102" fontAlgn="base">
              <a:spcBef>
                <a:spcPct val="0"/>
              </a:spcBef>
              <a:spcAft>
                <a:spcPct val="0"/>
              </a:spcAft>
            </a:pPr>
            <a:r>
              <a:rPr lang="en-US" sz="1568" dirty="0">
                <a:solidFill>
                  <a:srgbClr val="505050"/>
                </a:solidFill>
                <a:latin typeface="Segoe UI Semibold" panose="020B0702040204020203" pitchFamily="34" charset="0"/>
                <a:ea typeface="Segoe UI Black" panose="020B0A02040204020203" pitchFamily="34" charset="0"/>
                <a:cs typeface="Segoe UI Semibold" panose="020B0702040204020203" pitchFamily="34" charset="0"/>
              </a:rPr>
              <a:t>NO CHANGE</a:t>
            </a:r>
          </a:p>
          <a:p>
            <a:pPr algn="ctr" defTabSz="914102" fontAlgn="base">
              <a:lnSpc>
                <a:spcPts val="5000"/>
              </a:lnSpc>
              <a:spcBef>
                <a:spcPct val="0"/>
              </a:spcBef>
              <a:spcAft>
                <a:spcPct val="0"/>
              </a:spcAft>
            </a:pPr>
            <a:r>
              <a:rPr lang="en-US" sz="3600" dirty="0">
                <a:solidFill>
                  <a:srgbClr val="505050"/>
                </a:solidFill>
                <a:latin typeface="Segoe UI Light"/>
                <a:ea typeface="Segoe UI Black" panose="020B0A02040204020203" pitchFamily="34" charset="0"/>
                <a:cs typeface="Segoe UI Semilight" panose="020B0402040204020203" pitchFamily="34" charset="0"/>
              </a:rPr>
              <a:t>Legacy Compute</a:t>
            </a:r>
            <a:endParaRPr lang="en-US" sz="1200" i="1" dirty="0">
              <a:solidFill>
                <a:srgbClr val="505050"/>
              </a:solidFill>
              <a:latin typeface="Segoe UI Semilight" panose="020B0402040204020203" pitchFamily="34" charset="0"/>
              <a:cs typeface="Segoe UI Semilight" panose="020B0402040204020203" pitchFamily="34" charset="0"/>
            </a:endParaRPr>
          </a:p>
        </p:txBody>
      </p:sp>
      <p:sp>
        <p:nvSpPr>
          <p:cNvPr id="26" name="Rectangle 25"/>
          <p:cNvSpPr/>
          <p:nvPr/>
        </p:nvSpPr>
        <p:spPr bwMode="auto">
          <a:xfrm>
            <a:off x="9066965" y="4116104"/>
            <a:ext cx="2844546" cy="215406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268927"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3600" dirty="0">
                <a:gradFill>
                  <a:gsLst>
                    <a:gs pos="0">
                      <a:srgbClr val="FFFFFF"/>
                    </a:gs>
                    <a:gs pos="100000">
                      <a:srgbClr val="FFFFFF"/>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rPr>
              <a:t>27-36%</a:t>
            </a:r>
          </a:p>
          <a:p>
            <a:pPr algn="ctr" defTabSz="914102" fontAlgn="base">
              <a:spcBef>
                <a:spcPct val="0"/>
              </a:spcBef>
              <a:spcAft>
                <a:spcPct val="0"/>
              </a:spcAft>
            </a:pPr>
            <a:r>
              <a:rPr lang="en-US" sz="1765" i="1" dirty="0">
                <a:solidFill>
                  <a:prstClr val="white"/>
                </a:solidFill>
                <a:latin typeface="Segoe UI Semilight" panose="020B0402040204020203" pitchFamily="34" charset="0"/>
                <a:ea typeface="Segoe UI Black" panose="020B0A02040204020203" pitchFamily="34" charset="0"/>
                <a:cs typeface="Segoe UI Semilight" panose="020B0402040204020203" pitchFamily="34" charset="0"/>
              </a:rPr>
              <a:t>from existing list </a:t>
            </a:r>
            <a:r>
              <a:rPr lang="en-US" sz="1765" i="1" dirty="0" smtClean="0">
                <a:solidFill>
                  <a:prstClr val="white"/>
                </a:solidFill>
                <a:latin typeface="Segoe UI Semilight" panose="020B0402040204020203" pitchFamily="34" charset="0"/>
                <a:ea typeface="Segoe UI Black" panose="020B0A02040204020203" pitchFamily="34" charset="0"/>
                <a:cs typeface="Segoe UI Semilight" panose="020B0402040204020203" pitchFamily="34" charset="0"/>
              </a:rPr>
              <a:t>price</a:t>
            </a:r>
          </a:p>
          <a:p>
            <a:pPr algn="ctr" defTabSz="914102" fontAlgn="base">
              <a:spcBef>
                <a:spcPct val="0"/>
              </a:spcBef>
              <a:spcAft>
                <a:spcPct val="0"/>
              </a:spcAft>
            </a:pPr>
            <a:endParaRPr lang="en-US" sz="1600" dirty="0" smtClean="0">
              <a:solidFill>
                <a:srgbClr val="505050"/>
              </a:solidFill>
              <a:ea typeface="Cambria" panose="02040503050406030204" pitchFamily="18" charset="0"/>
              <a:cs typeface="Verdana" panose="020B0604030504040204" pitchFamily="34" charset="0"/>
            </a:endParaRPr>
          </a:p>
          <a:p>
            <a:pPr algn="ctr" defTabSz="914102" fontAlgn="base">
              <a:spcBef>
                <a:spcPct val="0"/>
              </a:spcBef>
              <a:spcAft>
                <a:spcPct val="0"/>
              </a:spcAft>
            </a:pPr>
            <a:r>
              <a:rPr lang="en-US" sz="1765" i="1" dirty="0" smtClean="0">
                <a:solidFill>
                  <a:prstClr val="white"/>
                </a:solidFill>
                <a:latin typeface="Segoe UI Semilight" panose="020B0402040204020203" pitchFamily="34" charset="0"/>
                <a:ea typeface="Segoe UI Black" panose="020B0A02040204020203" pitchFamily="34" charset="0"/>
                <a:cs typeface="Segoe UI Semilight" panose="020B0402040204020203" pitchFamily="34" charset="0"/>
              </a:rPr>
              <a:t>Series A of </a:t>
            </a:r>
            <a:r>
              <a:rPr lang="en-US" sz="1765" i="1" dirty="0">
                <a:solidFill>
                  <a:prstClr val="white"/>
                </a:solidFill>
                <a:latin typeface="Segoe UI Semilight" panose="020B0402040204020203" pitchFamily="34" charset="0"/>
                <a:ea typeface="Segoe UI Black" panose="020B0A02040204020203" pitchFamily="34" charset="0"/>
                <a:cs typeface="Segoe UI Semilight" panose="020B0402040204020203" pitchFamily="34" charset="0"/>
              </a:rPr>
              <a:t>compute, </a:t>
            </a:r>
            <a:r>
              <a:rPr lang="en-US" sz="1765" i="1" dirty="0" smtClean="0">
                <a:solidFill>
                  <a:prstClr val="white"/>
                </a:solidFill>
                <a:latin typeface="Segoe UI Semilight" panose="020B0402040204020203" pitchFamily="34" charset="0"/>
                <a:ea typeface="Segoe UI Black" panose="020B0A02040204020203" pitchFamily="34" charset="0"/>
                <a:cs typeface="Segoe UI Semilight" panose="020B0402040204020203" pitchFamily="34" charset="0"/>
              </a:rPr>
              <a:t>HDInsight, </a:t>
            </a:r>
            <a:r>
              <a:rPr lang="en-US" sz="1765" i="1" dirty="0">
                <a:solidFill>
                  <a:prstClr val="white"/>
                </a:solidFill>
                <a:latin typeface="Segoe UI Semilight" panose="020B0402040204020203" pitchFamily="34" charset="0"/>
                <a:ea typeface="Segoe UI Black" panose="020B0A02040204020203" pitchFamily="34" charset="0"/>
                <a:cs typeface="Segoe UI Semilight" panose="020B0402040204020203" pitchFamily="34" charset="0"/>
              </a:rPr>
              <a:t>and Azure </a:t>
            </a:r>
            <a:r>
              <a:rPr lang="en-US" sz="1765" i="1" dirty="0">
                <a:solidFill>
                  <a:prstClr val="white"/>
                </a:solidFill>
                <a:latin typeface="Segoe UI Semilight" panose="020B0402040204020203" pitchFamily="34" charset="0"/>
                <a:ea typeface="Segoe UI Black" panose="020B0A02040204020203" pitchFamily="34" charset="0"/>
                <a:cs typeface="Segoe UI Semilight" panose="020B0402040204020203" pitchFamily="34" charset="0"/>
              </a:rPr>
              <a:t>w</a:t>
            </a:r>
            <a:r>
              <a:rPr lang="en-US" sz="1765" i="1" dirty="0" smtClean="0">
                <a:solidFill>
                  <a:prstClr val="white"/>
                </a:solidFill>
                <a:latin typeface="Segoe UI Semilight" panose="020B0402040204020203" pitchFamily="34" charset="0"/>
                <a:ea typeface="Segoe UI Black" panose="020B0A02040204020203" pitchFamily="34" charset="0"/>
                <a:cs typeface="Segoe UI Semilight" panose="020B0402040204020203" pitchFamily="34" charset="0"/>
              </a:rPr>
              <a:t>ebsites  </a:t>
            </a:r>
            <a:endParaRPr lang="en-US" sz="1765" i="1" dirty="0">
              <a:solidFill>
                <a:prstClr val="white"/>
              </a:solidFill>
              <a:latin typeface="Segoe UI Semilight" panose="020B0402040204020203" pitchFamily="34" charset="0"/>
              <a:ea typeface="Segoe UI Black" panose="020B0A02040204020203" pitchFamily="34" charset="0"/>
              <a:cs typeface="Segoe UI Semilight" panose="020B0402040204020203" pitchFamily="34" charset="0"/>
            </a:endParaRPr>
          </a:p>
        </p:txBody>
      </p:sp>
      <p:sp>
        <p:nvSpPr>
          <p:cNvPr id="33" name="Rectangle 32"/>
          <p:cNvSpPr/>
          <p:nvPr/>
        </p:nvSpPr>
        <p:spPr bwMode="auto">
          <a:xfrm>
            <a:off x="417197" y="2036936"/>
            <a:ext cx="5540651" cy="2633035"/>
          </a:xfrm>
          <a:prstGeom prst="rect">
            <a:avLst/>
          </a:prstGeom>
          <a:solidFill>
            <a:srgbClr val="F3F3F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34464" numCol="1" spcCol="0" rtlCol="0" fromWordArt="0" anchor="t" anchorCtr="0" forceAA="0" compatLnSpc="1">
            <a:prstTxWarp prst="textNoShape">
              <a:avLst/>
            </a:prstTxWarp>
            <a:noAutofit/>
          </a:bodyPr>
          <a:lstStyle/>
          <a:p>
            <a:pPr algn="ctr" defTabSz="914102" fontAlgn="base">
              <a:spcBef>
                <a:spcPct val="0"/>
              </a:spcBef>
              <a:spcAft>
                <a:spcPct val="0"/>
              </a:spcAft>
            </a:pPr>
            <a:endParaRPr lang="en-US" sz="1176" dirty="0">
              <a:solidFill>
                <a:srgbClr val="000000"/>
              </a:solidFill>
              <a:latin typeface="Segoe UI Light"/>
              <a:ea typeface="Segoe UI Black" panose="020B0A02040204020203" pitchFamily="34" charset="0"/>
              <a:cs typeface="Segoe UI Semilight" panose="020B0402040204020203" pitchFamily="34" charset="0"/>
            </a:endParaRPr>
          </a:p>
          <a:p>
            <a:pPr algn="ctr" defTabSz="914102" fontAlgn="base">
              <a:spcBef>
                <a:spcPct val="0"/>
              </a:spcBef>
              <a:spcAft>
                <a:spcPct val="0"/>
              </a:spcAft>
            </a:pPr>
            <a:r>
              <a:rPr lang="en-US" sz="1568" dirty="0">
                <a:solidFill>
                  <a:srgbClr val="505050"/>
                </a:solidFill>
                <a:latin typeface="Segoe UI Semibold" panose="020B0702040204020203" pitchFamily="34" charset="0"/>
                <a:ea typeface="Segoe UI Black" panose="020B0A02040204020203" pitchFamily="34" charset="0"/>
                <a:cs typeface="Segoe UI Semibold" panose="020B0702040204020203" pitchFamily="34" charset="0"/>
              </a:rPr>
              <a:t>EA PRICES MAINTAINED BY PUBLIC PRICE DROP</a:t>
            </a:r>
          </a:p>
          <a:p>
            <a:pPr algn="ctr" defTabSz="914102" fontAlgn="base">
              <a:lnSpc>
                <a:spcPts val="5000"/>
              </a:lnSpc>
              <a:spcBef>
                <a:spcPct val="0"/>
              </a:spcBef>
              <a:spcAft>
                <a:spcPct val="0"/>
              </a:spcAft>
            </a:pPr>
            <a:r>
              <a:rPr lang="en-US" sz="3600" dirty="0">
                <a:solidFill>
                  <a:srgbClr val="505050"/>
                </a:solidFill>
                <a:latin typeface="Segoe UI Light"/>
                <a:ea typeface="Segoe UI Black" panose="020B0A02040204020203" pitchFamily="34" charset="0"/>
                <a:cs typeface="Segoe UI Semilight" panose="020B0402040204020203" pitchFamily="34" charset="0"/>
              </a:rPr>
              <a:t>New </a:t>
            </a:r>
            <a:r>
              <a:rPr lang="en-US" sz="3600" dirty="0" smtClean="0">
                <a:solidFill>
                  <a:srgbClr val="505050"/>
                </a:solidFill>
                <a:latin typeface="Segoe UI Light"/>
                <a:ea typeface="Segoe UI Black" panose="020B0A02040204020203" pitchFamily="34" charset="0"/>
                <a:cs typeface="Segoe UI Semilight" panose="020B0402040204020203" pitchFamily="34" charset="0"/>
              </a:rPr>
              <a:t>and </a:t>
            </a:r>
            <a:r>
              <a:rPr lang="en-US" sz="3600" dirty="0">
                <a:solidFill>
                  <a:srgbClr val="505050"/>
                </a:solidFill>
                <a:latin typeface="Segoe UI Light"/>
                <a:ea typeface="Segoe UI Black" panose="020B0A02040204020203" pitchFamily="34" charset="0"/>
                <a:cs typeface="Segoe UI Semilight" panose="020B0402040204020203" pitchFamily="34" charset="0"/>
              </a:rPr>
              <a:t>existing Azure services</a:t>
            </a:r>
          </a:p>
          <a:p>
            <a:pPr algn="ctr" defTabSz="914102" fontAlgn="base">
              <a:lnSpc>
                <a:spcPts val="3333"/>
              </a:lnSpc>
              <a:spcBef>
                <a:spcPct val="0"/>
              </a:spcBef>
              <a:spcAft>
                <a:spcPct val="0"/>
              </a:spcAft>
            </a:pPr>
            <a:r>
              <a:rPr lang="en-US" sz="1765" i="1" dirty="0" smtClean="0">
                <a:solidFill>
                  <a:srgbClr val="D2D2D2">
                    <a:lumMod val="50000"/>
                  </a:srgbClr>
                </a:solidFill>
                <a:latin typeface="Segoe UI Semilight" panose="020B0402040204020203" pitchFamily="34" charset="0"/>
                <a:cs typeface="Segoe UI Semilight" panose="020B0402040204020203" pitchFamily="34" charset="0"/>
              </a:rPr>
              <a:t>Already in market</a:t>
            </a:r>
            <a:endParaRPr lang="en-US" sz="1765" i="1" dirty="0">
              <a:solidFill>
                <a:srgbClr val="D2D2D2">
                  <a:lumMod val="50000"/>
                </a:srgbClr>
              </a:solidFill>
              <a:latin typeface="Segoe UI Semilight" panose="020B0402040204020203" pitchFamily="34" charset="0"/>
              <a:cs typeface="Segoe UI Semilight" panose="020B0402040204020203" pitchFamily="34" charset="0"/>
            </a:endParaRPr>
          </a:p>
        </p:txBody>
      </p:sp>
      <p:sp>
        <p:nvSpPr>
          <p:cNvPr id="34" name="Rectangle 33"/>
          <p:cNvSpPr/>
          <p:nvPr/>
        </p:nvSpPr>
        <p:spPr bwMode="auto">
          <a:xfrm>
            <a:off x="417197" y="4669973"/>
            <a:ext cx="5540651" cy="160020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268927" numCol="1" spcCol="0" rtlCol="0" fromWordArt="0" anchor="ctr" anchorCtr="0" forceAA="0" compatLnSpc="1">
            <a:prstTxWarp prst="textNoShape">
              <a:avLst/>
            </a:prstTxWarp>
            <a:noAutofit/>
          </a:bodyPr>
          <a:lstStyle/>
          <a:p>
            <a:pPr algn="ctr" defTabSz="914102" fontAlgn="base">
              <a:spcBef>
                <a:spcPct val="0"/>
              </a:spcBef>
              <a:spcAft>
                <a:spcPct val="0"/>
              </a:spcAft>
            </a:pPr>
            <a:r>
              <a:rPr lang="en-US" sz="3600" dirty="0" smtClean="0">
                <a:gradFill>
                  <a:gsLst>
                    <a:gs pos="0">
                      <a:srgbClr val="FFFFFF"/>
                    </a:gs>
                    <a:gs pos="100000">
                      <a:srgbClr val="FFFFFF"/>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rPr>
              <a:t>3-12%</a:t>
            </a:r>
            <a:endParaRPr lang="en-US" sz="3600" dirty="0">
              <a:gradFill>
                <a:gsLst>
                  <a:gs pos="0">
                    <a:srgbClr val="FFFFFF"/>
                  </a:gs>
                  <a:gs pos="100000">
                    <a:srgbClr val="FFFFFF"/>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endParaRPr>
          </a:p>
          <a:p>
            <a:pPr algn="ctr" defTabSz="914102" fontAlgn="base">
              <a:spcBef>
                <a:spcPct val="0"/>
              </a:spcBef>
              <a:spcAft>
                <a:spcPct val="0"/>
              </a:spcAft>
            </a:pPr>
            <a:r>
              <a:rPr lang="en-US" sz="1765" i="1" dirty="0">
                <a:gradFill>
                  <a:gsLst>
                    <a:gs pos="0">
                      <a:srgbClr val="FFFFFF"/>
                    </a:gs>
                    <a:gs pos="100000">
                      <a:srgbClr val="FFFFFF"/>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rPr>
              <a:t>on most Azure </a:t>
            </a:r>
            <a:r>
              <a:rPr lang="en-US" sz="1765" i="1" dirty="0" smtClean="0">
                <a:gradFill>
                  <a:gsLst>
                    <a:gs pos="0">
                      <a:srgbClr val="FFFFFF"/>
                    </a:gs>
                    <a:gs pos="100000">
                      <a:srgbClr val="FFFFFF"/>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rPr>
              <a:t>services</a:t>
            </a:r>
            <a:endParaRPr lang="en-US" sz="1765" i="1" dirty="0">
              <a:gradFill>
                <a:gsLst>
                  <a:gs pos="0">
                    <a:srgbClr val="FFFFFF"/>
                  </a:gs>
                  <a:gs pos="100000">
                    <a:srgbClr val="FFFFFF"/>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endParaRPr>
          </a:p>
        </p:txBody>
      </p:sp>
      <p:sp>
        <p:nvSpPr>
          <p:cNvPr id="16" name="Rectangle 15"/>
          <p:cNvSpPr/>
          <p:nvPr/>
        </p:nvSpPr>
        <p:spPr>
          <a:xfrm>
            <a:off x="268928" y="1310561"/>
            <a:ext cx="9187226" cy="452590"/>
          </a:xfrm>
          <a:prstGeom prst="rect">
            <a:avLst/>
          </a:prstGeom>
        </p:spPr>
        <p:txBody>
          <a:bodyPr wrap="square" lIns="143428" rIns="143428">
            <a:spAutoFit/>
          </a:bodyPr>
          <a:lstStyle/>
          <a:p>
            <a:pPr defTabSz="932742"/>
            <a:r>
              <a:rPr lang="en-IN" sz="2353" dirty="0">
                <a:ln w="3175">
                  <a:noFill/>
                </a:ln>
                <a:solidFill>
                  <a:srgbClr val="505050"/>
                </a:solidFill>
                <a:latin typeface="Segoe UI Light"/>
                <a:cs typeface="Segoe UI" pitchFamily="34" charset="0"/>
              </a:rPr>
              <a:t>No EA price increases result from these changes</a:t>
            </a:r>
            <a:endParaRPr lang="en-US" sz="2353" dirty="0">
              <a:ln w="3175">
                <a:noFill/>
              </a:ln>
              <a:solidFill>
                <a:srgbClr val="505050"/>
              </a:solidFill>
              <a:latin typeface="Segoe UI Light"/>
              <a:cs typeface="Segoe UI" pitchFamily="34" charset="0"/>
            </a:endParaRPr>
          </a:p>
        </p:txBody>
      </p:sp>
      <p:sp>
        <p:nvSpPr>
          <p:cNvPr id="18" name="Rectangle 17"/>
          <p:cNvSpPr/>
          <p:nvPr/>
        </p:nvSpPr>
        <p:spPr bwMode="auto">
          <a:xfrm flipV="1">
            <a:off x="417197" y="2007869"/>
            <a:ext cx="5540651" cy="74781"/>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268927"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i="1" dirty="0">
              <a:gradFill>
                <a:gsLst>
                  <a:gs pos="0">
                    <a:srgbClr val="FFFFFF"/>
                  </a:gs>
                  <a:gs pos="100000">
                    <a:srgbClr val="FFFFFF"/>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endParaRPr>
          </a:p>
        </p:txBody>
      </p:sp>
      <p:sp>
        <p:nvSpPr>
          <p:cNvPr id="21" name="Rectangle 20"/>
          <p:cNvSpPr/>
          <p:nvPr/>
        </p:nvSpPr>
        <p:spPr bwMode="auto">
          <a:xfrm flipV="1">
            <a:off x="6090134" y="2007867"/>
            <a:ext cx="2844546" cy="7478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268927"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i="1" dirty="0">
              <a:gradFill>
                <a:gsLst>
                  <a:gs pos="0">
                    <a:srgbClr val="FFFFFF"/>
                  </a:gs>
                  <a:gs pos="100000">
                    <a:srgbClr val="FFFFFF"/>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endParaRPr>
          </a:p>
        </p:txBody>
      </p:sp>
      <p:sp>
        <p:nvSpPr>
          <p:cNvPr id="22" name="Rectangle 21"/>
          <p:cNvSpPr/>
          <p:nvPr/>
        </p:nvSpPr>
        <p:spPr bwMode="auto">
          <a:xfrm flipV="1">
            <a:off x="9066965" y="2007867"/>
            <a:ext cx="2844546" cy="7478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268927"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i="1" dirty="0">
              <a:gradFill>
                <a:gsLst>
                  <a:gs pos="0">
                    <a:srgbClr val="FFFFFF"/>
                  </a:gs>
                  <a:gs pos="100000">
                    <a:srgbClr val="FFFFFF"/>
                  </a:gs>
                </a:gsLst>
                <a:lin ang="5400000" scaled="0"/>
              </a:gradFill>
              <a:latin typeface="Segoe UI Semilight" panose="020B0402040204020203" pitchFamily="34" charset="0"/>
              <a:ea typeface="Segoe UI Black" panose="020B0A02040204020203" pitchFamily="34" charset="0"/>
              <a:cs typeface="Segoe UI Semilight" panose="020B0402040204020203" pitchFamily="34" charset="0"/>
            </a:endParaRPr>
          </a:p>
        </p:txBody>
      </p:sp>
      <p:sp>
        <p:nvSpPr>
          <p:cNvPr id="3" name="Title 2"/>
          <p:cNvSpPr>
            <a:spLocks noGrp="1"/>
          </p:cNvSpPr>
          <p:nvPr>
            <p:ph type="title"/>
          </p:nvPr>
        </p:nvSpPr>
        <p:spPr/>
        <p:txBody>
          <a:bodyPr/>
          <a:lstStyle/>
          <a:p>
            <a:r>
              <a:rPr lang="en-US" sz="4400" dirty="0"/>
              <a:t>Azure EAs: </a:t>
            </a:r>
            <a:r>
              <a:rPr lang="en-US" sz="4400" dirty="0" smtClean="0"/>
              <a:t>what’s </a:t>
            </a:r>
            <a:r>
              <a:rPr lang="en-US" sz="4400" dirty="0" smtClean="0"/>
              <a:t>changed</a:t>
            </a:r>
            <a:endParaRPr lang="en-US" dirty="0"/>
          </a:p>
        </p:txBody>
      </p:sp>
    </p:spTree>
    <p:extLst>
      <p:ext uri="{BB962C8B-B14F-4D97-AF65-F5344CB8AC3E}">
        <p14:creationId xmlns:p14="http://schemas.microsoft.com/office/powerpoint/2010/main" val="2207160854"/>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4" cstate="email">
            <a:extLst>
              <a:ext uri="{28A0092B-C50C-407E-A947-70E740481C1C}">
                <a14:useLocalDpi xmlns:a14="http://schemas.microsoft.com/office/drawing/2010/main"/>
              </a:ext>
            </a:extLst>
          </a:blip>
          <a:srcRect t="-1"/>
          <a:stretch/>
        </p:blipFill>
        <p:spPr>
          <a:xfrm>
            <a:off x="7810687" y="489"/>
            <a:ext cx="4396358" cy="6852124"/>
          </a:xfrm>
          <a:prstGeom prst="rect">
            <a:avLst/>
          </a:prstGeom>
        </p:spPr>
      </p:pic>
      <p:sp>
        <p:nvSpPr>
          <p:cNvPr id="11" name="Title 2"/>
          <p:cNvSpPr>
            <a:spLocks noGrp="1"/>
          </p:cNvSpPr>
          <p:nvPr>
            <p:ph type="title"/>
          </p:nvPr>
        </p:nvSpPr>
        <p:spPr/>
        <p:txBody>
          <a:bodyPr/>
          <a:lstStyle/>
          <a:p>
            <a:pPr>
              <a:lnSpc>
                <a:spcPct val="100000"/>
              </a:lnSpc>
            </a:pPr>
            <a:r>
              <a:rPr lang="en-US" sz="4902" dirty="0" smtClean="0"/>
              <a:t>Sell Managed </a:t>
            </a:r>
            <a:r>
              <a:rPr lang="en-US" sz="4902" dirty="0"/>
              <a:t>Services</a:t>
            </a:r>
            <a:endParaRPr lang="en-US" sz="2745" dirty="0"/>
          </a:p>
        </p:txBody>
      </p:sp>
      <p:sp>
        <p:nvSpPr>
          <p:cNvPr id="26" name="Rectangle 25"/>
          <p:cNvSpPr/>
          <p:nvPr>
            <p:custDataLst>
              <p:tags r:id="rId1"/>
            </p:custDataLst>
          </p:nvPr>
        </p:nvSpPr>
        <p:spPr bwMode="auto">
          <a:xfrm>
            <a:off x="417752" y="1847035"/>
            <a:ext cx="7234243" cy="4321417"/>
          </a:xfrm>
          <a:prstGeom prst="rect">
            <a:avLst/>
          </a:prstGeom>
          <a:noFill/>
          <a:ln w="25400" cap="flat" cmpd="sng" algn="ctr">
            <a:noFill/>
            <a:prstDash val="solid"/>
            <a:headEnd type="none" w="med" len="med"/>
            <a:tailEnd type="none" w="med" len="med"/>
          </a:ln>
          <a:effectLst/>
        </p:spPr>
        <p:txBody>
          <a:bodyPr vert="horz" wrap="square" lIns="0" tIns="0" rIns="0" bIns="0" numCol="1" rtlCol="0" anchor="t" anchorCtr="0" compatLnSpc="1">
            <a:prstTxWarp prst="textNoShape">
              <a:avLst/>
            </a:prstTxWarp>
            <a:noAutofit/>
          </a:bodyPr>
          <a:lstStyle/>
          <a:p>
            <a:pPr defTabSz="896350">
              <a:spcBef>
                <a:spcPts val="392"/>
              </a:spcBef>
              <a:spcAft>
                <a:spcPts val="196"/>
              </a:spcAft>
            </a:pPr>
            <a:r>
              <a:rPr lang="en-US" sz="2000" kern="0" dirty="0">
                <a:solidFill>
                  <a:srgbClr val="505050"/>
                </a:solidFill>
                <a:latin typeface="Segoe UI Light"/>
              </a:rPr>
              <a:t>Enable Service Providers </a:t>
            </a:r>
            <a:r>
              <a:rPr lang="en-US" sz="2000" kern="0" dirty="0" smtClean="0">
                <a:solidFill>
                  <a:srgbClr val="505050"/>
                </a:solidFill>
                <a:latin typeface="Segoe UI Light"/>
              </a:rPr>
              <a:t>and </a:t>
            </a:r>
            <a:r>
              <a:rPr lang="en-US" sz="2000" kern="0" dirty="0">
                <a:solidFill>
                  <a:srgbClr val="505050"/>
                </a:solidFill>
                <a:latin typeface="Segoe UI Light"/>
              </a:rPr>
              <a:t>System Integrators to </a:t>
            </a:r>
            <a:r>
              <a:rPr lang="en-US" sz="2000" i="1" kern="0" dirty="0">
                <a:solidFill>
                  <a:srgbClr val="505050"/>
                </a:solidFill>
                <a:latin typeface="Segoe UI Light"/>
              </a:rPr>
              <a:t>host</a:t>
            </a:r>
            <a:r>
              <a:rPr lang="en-US" sz="2000" kern="0" dirty="0">
                <a:solidFill>
                  <a:srgbClr val="505050"/>
                </a:solidFill>
                <a:latin typeface="Segoe UI Light"/>
              </a:rPr>
              <a:t> </a:t>
            </a:r>
            <a:r>
              <a:rPr lang="en-US" sz="2000" kern="0" dirty="0" smtClean="0">
                <a:solidFill>
                  <a:srgbClr val="505050"/>
                </a:solidFill>
                <a:latin typeface="Segoe UI Light"/>
              </a:rPr>
              <a:t>and </a:t>
            </a:r>
            <a:r>
              <a:rPr lang="en-US" sz="2000" i="1" kern="0" dirty="0">
                <a:solidFill>
                  <a:srgbClr val="505050"/>
                </a:solidFill>
                <a:latin typeface="Segoe UI Light"/>
              </a:rPr>
              <a:t>manage</a:t>
            </a:r>
            <a:r>
              <a:rPr lang="en-US" sz="2000" kern="0" dirty="0">
                <a:solidFill>
                  <a:srgbClr val="505050"/>
                </a:solidFill>
                <a:latin typeface="Segoe UI Light"/>
              </a:rPr>
              <a:t> services </a:t>
            </a:r>
            <a:r>
              <a:rPr lang="en-US" sz="2000" kern="0" dirty="0" smtClean="0">
                <a:solidFill>
                  <a:srgbClr val="505050"/>
                </a:solidFill>
                <a:latin typeface="Segoe UI Light"/>
              </a:rPr>
              <a:t>and </a:t>
            </a:r>
            <a:r>
              <a:rPr lang="en-US" sz="2000" kern="0" dirty="0">
                <a:solidFill>
                  <a:srgbClr val="505050"/>
                </a:solidFill>
                <a:latin typeface="Segoe UI Light"/>
              </a:rPr>
              <a:t>applications for their </a:t>
            </a:r>
            <a:r>
              <a:rPr lang="en-US" sz="2000" kern="0" dirty="0" smtClean="0">
                <a:solidFill>
                  <a:srgbClr val="505050"/>
                </a:solidFill>
                <a:latin typeface="Segoe UI Light"/>
              </a:rPr>
              <a:t>end customers.</a:t>
            </a:r>
          </a:p>
          <a:p>
            <a:pPr defTabSz="896350">
              <a:spcBef>
                <a:spcPts val="392"/>
              </a:spcBef>
              <a:spcAft>
                <a:spcPts val="196"/>
              </a:spcAft>
            </a:pPr>
            <a:r>
              <a:rPr lang="en-US" sz="2000" kern="0" dirty="0" smtClean="0">
                <a:solidFill>
                  <a:srgbClr val="505050"/>
                </a:solidFill>
                <a:latin typeface="Segoe UI Semilight" panose="020B0402040204020203" pitchFamily="34" charset="0"/>
                <a:cs typeface="Segoe UI Semilight" panose="020B0402040204020203" pitchFamily="34" charset="0"/>
              </a:rPr>
              <a:t>Partner </a:t>
            </a:r>
            <a:r>
              <a:rPr lang="en-US" sz="2000" kern="0" dirty="0">
                <a:solidFill>
                  <a:srgbClr val="505050"/>
                </a:solidFill>
                <a:latin typeface="Segoe UI Semilight" panose="020B0402040204020203" pitchFamily="34" charset="0"/>
                <a:cs typeface="Segoe UI Semilight" panose="020B0402040204020203" pitchFamily="34" charset="0"/>
              </a:rPr>
              <a:t>must have full admin access to any </a:t>
            </a:r>
            <a:r>
              <a:rPr lang="en-US" sz="2000" kern="0" dirty="0" smtClean="0">
                <a:solidFill>
                  <a:srgbClr val="505050"/>
                </a:solidFill>
                <a:latin typeface="Segoe UI Semilight" panose="020B0402040204020203" pitchFamily="34" charset="0"/>
                <a:cs typeface="Segoe UI Semilight" panose="020B0402040204020203" pitchFamily="34" charset="0"/>
              </a:rPr>
              <a:t>virtual machines </a:t>
            </a:r>
            <a:r>
              <a:rPr lang="en-US" sz="2000" kern="0" dirty="0">
                <a:solidFill>
                  <a:srgbClr val="505050"/>
                </a:solidFill>
                <a:latin typeface="Segoe UI Semilight" panose="020B0402040204020203" pitchFamily="34" charset="0"/>
                <a:cs typeface="Segoe UI Semilight" panose="020B0402040204020203" pitchFamily="34" charset="0"/>
              </a:rPr>
              <a:t>or “OSE’s” (Operating System </a:t>
            </a:r>
            <a:r>
              <a:rPr lang="en-US" sz="2000" kern="0" dirty="0" smtClean="0">
                <a:solidFill>
                  <a:srgbClr val="505050"/>
                </a:solidFill>
                <a:latin typeface="Segoe UI Semilight" panose="020B0402040204020203" pitchFamily="34" charset="0"/>
                <a:cs typeface="Segoe UI Semilight" panose="020B0402040204020203" pitchFamily="34" charset="0"/>
              </a:rPr>
              <a:t>Entities) its </a:t>
            </a:r>
            <a:r>
              <a:rPr lang="en-US" sz="2000" kern="0" dirty="0">
                <a:solidFill>
                  <a:srgbClr val="505050"/>
                </a:solidFill>
                <a:latin typeface="Segoe UI Semilight" panose="020B0402040204020203" pitchFamily="34" charset="0"/>
                <a:cs typeface="Segoe UI Semilight" panose="020B0402040204020203" pitchFamily="34" charset="0"/>
              </a:rPr>
              <a:t>customers use</a:t>
            </a:r>
          </a:p>
          <a:p>
            <a:pPr marL="336145" indent="-224097" defTabSz="896350">
              <a:spcBef>
                <a:spcPts val="98"/>
              </a:spcBef>
              <a:spcAft>
                <a:spcPts val="196"/>
              </a:spcAft>
              <a:buFont typeface="Arial" panose="020B0604020202020204" pitchFamily="34" charset="0"/>
              <a:buChar char="•"/>
            </a:pPr>
            <a:r>
              <a:rPr lang="en-US" sz="2000" kern="0" dirty="0" smtClean="0">
                <a:solidFill>
                  <a:srgbClr val="505050"/>
                </a:solidFill>
                <a:latin typeface="Segoe UI Semilight" panose="020B0402040204020203" pitchFamily="34" charset="0"/>
                <a:cs typeface="Segoe UI Semilight" panose="020B0402040204020203" pitchFamily="34" charset="0"/>
              </a:rPr>
              <a:t>Partner’s customers </a:t>
            </a:r>
            <a:r>
              <a:rPr lang="en-US" sz="2000" kern="0" dirty="0">
                <a:solidFill>
                  <a:srgbClr val="505050"/>
                </a:solidFill>
                <a:latin typeface="Segoe UI Semilight" panose="020B0402040204020203" pitchFamily="34" charset="0"/>
                <a:cs typeface="Segoe UI Semilight" panose="020B0402040204020203" pitchFamily="34" charset="0"/>
              </a:rPr>
              <a:t>must only have admin access within their applications or virtual OSE’s (not to Azure services directly).</a:t>
            </a:r>
          </a:p>
          <a:p>
            <a:pPr marL="336145" indent="-224097" defTabSz="896350">
              <a:spcBef>
                <a:spcPts val="98"/>
              </a:spcBef>
              <a:spcAft>
                <a:spcPts val="196"/>
              </a:spcAft>
              <a:buFont typeface="Arial" panose="020B0604020202020204" pitchFamily="34" charset="0"/>
              <a:buChar char="•"/>
            </a:pPr>
            <a:r>
              <a:rPr lang="en-US" sz="2000" kern="0" dirty="0" smtClean="0">
                <a:solidFill>
                  <a:srgbClr val="505050"/>
                </a:solidFill>
                <a:latin typeface="Segoe UI Semilight" panose="020B0402040204020203" pitchFamily="34" charset="0"/>
                <a:cs typeface="Segoe UI Semilight" panose="020B0402040204020203" pitchFamily="34" charset="0"/>
              </a:rPr>
              <a:t>Partner </a:t>
            </a:r>
            <a:r>
              <a:rPr lang="en-US" sz="2000" kern="0" dirty="0">
                <a:solidFill>
                  <a:srgbClr val="505050"/>
                </a:solidFill>
                <a:latin typeface="Segoe UI Semilight" panose="020B0402040204020203" pitchFamily="34" charset="0"/>
                <a:cs typeface="Segoe UI Semilight" panose="020B0402040204020203" pitchFamily="34" charset="0"/>
              </a:rPr>
              <a:t>is responsible for its customers’ use of Azure</a:t>
            </a:r>
          </a:p>
          <a:p>
            <a:pPr defTabSz="896350">
              <a:spcBef>
                <a:spcPts val="1176"/>
              </a:spcBef>
            </a:pPr>
            <a:r>
              <a:rPr lang="en-US" sz="2000" kern="0" dirty="0">
                <a:solidFill>
                  <a:srgbClr val="505050"/>
                </a:solidFill>
                <a:latin typeface="Segoe UI Light"/>
              </a:rPr>
              <a:t>Examples</a:t>
            </a:r>
          </a:p>
          <a:p>
            <a:pPr marL="448193" indent="-336145" defTabSz="896350">
              <a:spcBef>
                <a:spcPts val="392"/>
              </a:spcBef>
              <a:spcAft>
                <a:spcPts val="196"/>
              </a:spcAft>
              <a:buFont typeface="Wingdings" panose="05000000000000000000" pitchFamily="2" charset="2"/>
              <a:buChar char="ü"/>
              <a:defRPr/>
            </a:pPr>
            <a:r>
              <a:rPr lang="en-US" sz="2000" kern="0" dirty="0">
                <a:solidFill>
                  <a:srgbClr val="505050"/>
                </a:solidFill>
                <a:latin typeface="Segoe UI Semilight" panose="020B0402040204020203" pitchFamily="34" charset="0"/>
                <a:cs typeface="Segoe UI Semilight" panose="020B0402040204020203" pitchFamily="34" charset="0"/>
              </a:rPr>
              <a:t>Infosys manages Coca-Cola’s </a:t>
            </a:r>
            <a:r>
              <a:rPr lang="en-US" sz="2000" kern="0" dirty="0" smtClean="0">
                <a:solidFill>
                  <a:srgbClr val="505050"/>
                </a:solidFill>
                <a:latin typeface="Segoe UI Semilight" panose="020B0402040204020203" pitchFamily="34" charset="0"/>
                <a:cs typeface="Segoe UI Semilight" panose="020B0402040204020203" pitchFamily="34" charset="0"/>
              </a:rPr>
              <a:t>payroll </a:t>
            </a:r>
            <a:r>
              <a:rPr lang="en-US" sz="2000" kern="0" dirty="0">
                <a:solidFill>
                  <a:srgbClr val="505050"/>
                </a:solidFill>
                <a:latin typeface="Segoe UI Semilight" panose="020B0402040204020203" pitchFamily="34" charset="0"/>
                <a:cs typeface="Segoe UI Semilight" panose="020B0402040204020203" pitchFamily="34" charset="0"/>
              </a:rPr>
              <a:t>application on Azure</a:t>
            </a:r>
          </a:p>
          <a:p>
            <a:pPr marL="448193" indent="-336145" defTabSz="896350">
              <a:spcBef>
                <a:spcPts val="392"/>
              </a:spcBef>
              <a:spcAft>
                <a:spcPts val="196"/>
              </a:spcAft>
              <a:buFont typeface="Wingdings" panose="05000000000000000000" pitchFamily="2" charset="2"/>
              <a:buChar char="ü"/>
              <a:defRPr/>
            </a:pPr>
            <a:r>
              <a:rPr lang="en-US" sz="2000" kern="0" dirty="0">
                <a:solidFill>
                  <a:srgbClr val="505050"/>
                </a:solidFill>
                <a:latin typeface="Segoe UI Semilight" panose="020B0402040204020203" pitchFamily="34" charset="0"/>
                <a:cs typeface="Segoe UI Semilight" panose="020B0402040204020203" pitchFamily="34" charset="0"/>
              </a:rPr>
              <a:t>Accenture hosts </a:t>
            </a:r>
            <a:r>
              <a:rPr lang="en-US" sz="2000" kern="0" dirty="0" smtClean="0">
                <a:solidFill>
                  <a:srgbClr val="505050"/>
                </a:solidFill>
                <a:latin typeface="Segoe UI Semilight" panose="020B0402040204020203" pitchFamily="34" charset="0"/>
                <a:cs typeface="Segoe UI Semilight" panose="020B0402040204020203" pitchFamily="34" charset="0"/>
              </a:rPr>
              <a:t>and </a:t>
            </a:r>
            <a:r>
              <a:rPr lang="en-US" sz="2000" kern="0" dirty="0">
                <a:solidFill>
                  <a:srgbClr val="505050"/>
                </a:solidFill>
                <a:latin typeface="Segoe UI Semilight" panose="020B0402040204020203" pitchFamily="34" charset="0"/>
                <a:cs typeface="Segoe UI Semilight" panose="020B0402040204020203" pitchFamily="34" charset="0"/>
              </a:rPr>
              <a:t>manages Exchange Server on Azure for </a:t>
            </a:r>
            <a:r>
              <a:rPr lang="en-US" sz="2000" kern="0" dirty="0" smtClean="0">
                <a:solidFill>
                  <a:srgbClr val="505050"/>
                </a:solidFill>
                <a:latin typeface="Segoe UI Semilight" panose="020B0402040204020203" pitchFamily="34" charset="0"/>
                <a:cs typeface="Segoe UI Semilight" panose="020B0402040204020203" pitchFamily="34" charset="0"/>
              </a:rPr>
              <a:t>BMW</a:t>
            </a:r>
            <a:endParaRPr lang="en-US" sz="2000" kern="0" dirty="0">
              <a:solidFill>
                <a:srgbClr val="505050"/>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298224821"/>
      </p:ext>
    </p:extLst>
  </p:cSld>
  <p:clrMapOvr>
    <a:masterClrMapping/>
  </p:clrMapOvr>
  <p:transition spd="med">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_kstudp2nE.MEsGdLgAvM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bXRD65o0D0GFddoi9OZF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CBLA_CGzTEKp_F1tmkHww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Oo8G64zGkKuA9Of3vb1T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S9w8__PXcEusrjXZ47B8h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STB Product Families 2013">
  <a:themeElements>
    <a:clrScheme name="Custom 5">
      <a:dk1>
        <a:srgbClr val="000000"/>
      </a:dk1>
      <a:lt1>
        <a:srgbClr val="FFFFFF"/>
      </a:lt1>
      <a:dk2>
        <a:srgbClr val="505050"/>
      </a:dk2>
      <a:lt2>
        <a:srgbClr val="D2D2D2"/>
      </a:lt2>
      <a:accent1>
        <a:srgbClr val="0072C6"/>
      </a:accent1>
      <a:accent2>
        <a:srgbClr val="008272"/>
      </a:accent2>
      <a:accent3>
        <a:srgbClr val="68217A"/>
      </a:accent3>
      <a:accent4>
        <a:srgbClr val="DC3C00"/>
      </a:accent4>
      <a:accent5>
        <a:srgbClr val="FF8C00"/>
      </a:accent5>
      <a:accent6>
        <a:srgbClr val="00BCF2"/>
      </a:accent6>
      <a:hlink>
        <a:srgbClr val="0072C6"/>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TB Internal Template Audienz Modified.potx" id="{F39CE77D-2FBD-4EF7-AB21-A164DCB87B2B}" vid="{15A266E2-B9DA-42BB-BD31-AC0EDCAEC90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LDS_x0020_Category xmlns="4f5f60c9-59ce-4ff6-b841-8e86fcb18349">Office 365</PLDS_x0020_Category>
    <Entry_x0020_Date xmlns="4f5f60c9-59ce-4ff6-b841-8e86fcb18349" xsi:nil="true"/>
    <Assigned_x0020_PLDS xmlns="4f5f60c9-59ce-4ff6-b841-8e86fcb18349">Denis Foucher</Assigned_x0020_PLD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92B6C6B77275445A2BE518F255C352E" ma:contentTypeVersion="6" ma:contentTypeDescription="Create a new document." ma:contentTypeScope="" ma:versionID="680dc326a258150e89d4b81bcf383b85">
  <xsd:schema xmlns:xsd="http://www.w3.org/2001/XMLSchema" xmlns:xs="http://www.w3.org/2001/XMLSchema" xmlns:p="http://schemas.microsoft.com/office/2006/metadata/properties" xmlns:ns2="4f5f60c9-59ce-4ff6-b841-8e86fcb18349" targetNamespace="http://schemas.microsoft.com/office/2006/metadata/properties" ma:root="true" ma:fieldsID="bc77f69522603b97fbcfdd1f7c814117" ns2:_="">
    <xsd:import namespace="4f5f60c9-59ce-4ff6-b841-8e86fcb18349"/>
    <xsd:element name="properties">
      <xsd:complexType>
        <xsd:sequence>
          <xsd:element name="documentManagement">
            <xsd:complexType>
              <xsd:all>
                <xsd:element ref="ns2:Assigned_x0020_PLDS" minOccurs="0"/>
                <xsd:element ref="ns2:PLDS_x0020_Category" minOccurs="0"/>
                <xsd:element ref="ns2:Entry_x0020_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f5f60c9-59ce-4ff6-b841-8e86fcb18349" elementFormDefault="qualified">
    <xsd:import namespace="http://schemas.microsoft.com/office/2006/documentManagement/types"/>
    <xsd:import namespace="http://schemas.microsoft.com/office/infopath/2007/PartnerControls"/>
    <xsd:element name="Assigned_x0020_PLDS" ma:index="8" nillable="true" ma:displayName="Assigned PLDS" ma:default="Denis Foucher" ma:format="Dropdown" ma:internalName="Assigned_x0020_PLDS">
      <xsd:simpleType>
        <xsd:restriction base="dms:Choice">
          <xsd:enumeration value="Denis Foucher"/>
          <xsd:enumeration value="Hao Tang"/>
          <xsd:enumeration value="Jeannine Woodyear"/>
          <xsd:enumeration value="Mary Sutton"/>
          <xsd:enumeration value="Neeti Gupta"/>
          <xsd:enumeration value="Robin McQuiston"/>
        </xsd:restriction>
      </xsd:simpleType>
    </xsd:element>
    <xsd:element name="PLDS_x0020_Category" ma:index="9" nillable="true" ma:displayName="PLDS Category" ma:default="Office 365" ma:format="Dropdown" ma:internalName="PLDS_x0020_Category">
      <xsd:simpleType>
        <xsd:restriction base="dms:Choice">
          <xsd:enumeration value="Office 365"/>
          <xsd:enumeration value="CRM Online"/>
          <xsd:enumeration value="Cloud OS"/>
          <xsd:enumeration value="Azure"/>
          <xsd:enumeration value="PLC tool"/>
          <xsd:enumeration value="Learning Plan"/>
          <xsd:enumeration value="Reporting"/>
        </xsd:restriction>
      </xsd:simpleType>
    </xsd:element>
    <xsd:element name="Entry_x0020_Date" ma:index="10" nillable="true" ma:displayName="Entry Date" ma:format="DateOnly" ma:internalName="Entry_x0020_Dat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32FDA30-7FDF-4369-BD48-503CEFBB254F}">
  <ds:schemaRefs>
    <ds:schemaRef ds:uri="http://schemas.microsoft.com/sharepoint/v3/contenttype/forms"/>
  </ds:schemaRefs>
</ds:datastoreItem>
</file>

<file path=customXml/itemProps2.xml><?xml version="1.0" encoding="utf-8"?>
<ds:datastoreItem xmlns:ds="http://schemas.openxmlformats.org/officeDocument/2006/customXml" ds:itemID="{FDF11F25-B0C7-4CE0-81DD-4DF4FBB69479}">
  <ds:schemaRefs>
    <ds:schemaRef ds:uri="http://www.w3.org/XML/1998/namespace"/>
    <ds:schemaRef ds:uri="http://purl.org/dc/elements/1.1/"/>
    <ds:schemaRef ds:uri="http://schemas.microsoft.com/office/2006/metadata/properties"/>
    <ds:schemaRef ds:uri="http://purl.org/dc/dcmitype/"/>
    <ds:schemaRef ds:uri="http://schemas.microsoft.com/office/2006/documentManagement/types"/>
    <ds:schemaRef ds:uri="http://purl.org/dc/terms/"/>
    <ds:schemaRef ds:uri="http://schemas.microsoft.com/office/infopath/2007/PartnerControls"/>
    <ds:schemaRef ds:uri="4f5f60c9-59ce-4ff6-b841-8e86fcb18349"/>
    <ds:schemaRef ds:uri="http://schemas.openxmlformats.org/package/2006/metadata/core-properties"/>
  </ds:schemaRefs>
</ds:datastoreItem>
</file>

<file path=customXml/itemProps3.xml><?xml version="1.0" encoding="utf-8"?>
<ds:datastoreItem xmlns:ds="http://schemas.openxmlformats.org/officeDocument/2006/customXml" ds:itemID="{9E05D29C-04BE-4665-9AF3-21EBDCFD62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f5f60c9-59ce-4ff6-b841-8e86fcb1834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6066</TotalTime>
  <Words>3626</Words>
  <Application>Microsoft Office PowerPoint</Application>
  <PresentationFormat>Widescreen</PresentationFormat>
  <Paragraphs>311</Paragraphs>
  <Slides>15</Slides>
  <Notes>15</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30" baseType="lpstr">
      <vt:lpstr>Arial</vt:lpstr>
      <vt:lpstr>Calibri</vt:lpstr>
      <vt:lpstr>Cambria</vt:lpstr>
      <vt:lpstr>Segoe Pro</vt:lpstr>
      <vt:lpstr>Segoe Pro Light</vt:lpstr>
      <vt:lpstr>Segoe UI</vt:lpstr>
      <vt:lpstr>Segoe UI Black</vt:lpstr>
      <vt:lpstr>Segoe UI Bold</vt:lpstr>
      <vt:lpstr>Segoe UI Light</vt:lpstr>
      <vt:lpstr>Segoe UI Semibold</vt:lpstr>
      <vt:lpstr>Segoe UI Semilight</vt:lpstr>
      <vt:lpstr>Verdana</vt:lpstr>
      <vt:lpstr>Wingdings</vt:lpstr>
      <vt:lpstr>5_STB Product Families 2013</vt:lpstr>
      <vt:lpstr>think-cell Slide</vt:lpstr>
      <vt:lpstr>Module 5: Microsoft Azure pricing</vt:lpstr>
      <vt:lpstr>Azure benefits for MSDN subscribers (U.S. $)</vt:lpstr>
      <vt:lpstr>What can customers do with $100/month benefit?</vt:lpstr>
      <vt:lpstr>Ways to buy Azure</vt:lpstr>
      <vt:lpstr>Ways to buy: monetary commitment</vt:lpstr>
      <vt:lpstr>Ways to buy: Azure plans</vt:lpstr>
      <vt:lpstr>In the news: cloud pricing today</vt:lpstr>
      <vt:lpstr>Azure EAs: what’s changed</vt:lpstr>
      <vt:lpstr>Sell Managed Services</vt:lpstr>
      <vt:lpstr>Azure Use Rights</vt:lpstr>
      <vt:lpstr>Azure calculators</vt:lpstr>
      <vt:lpstr>Sample Microsoft Azure quote (U.S. $) Extending a Datacenter</vt:lpstr>
      <vt:lpstr>Sample Microsoft Azure quote (U.S. $) Identity Management (App Portal)</vt:lpstr>
      <vt:lpstr>Sample Microsoft Azure quote (U.S. $) Websites on Azure</vt:lpstr>
      <vt:lpstr>Thank you!</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genda</dc:title>
  <dc:creator>Dylan Bodet (The Spur Group Inc)</dc:creator>
  <cp:lastModifiedBy>Brent Johnson</cp:lastModifiedBy>
  <cp:revision>222</cp:revision>
  <dcterms:created xsi:type="dcterms:W3CDTF">2014-10-28T18:48:09Z</dcterms:created>
  <dcterms:modified xsi:type="dcterms:W3CDTF">2015-01-02T19:17: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2B6C6B77275445A2BE518F255C352E</vt:lpwstr>
  </property>
</Properties>
</file>